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6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9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drawings/drawing2.xml" ContentType="application/vnd.openxmlformats-officedocument.drawingml.chartshape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672" r:id="rId5"/>
    <p:sldMasterId id="2147483676" r:id="rId6"/>
    <p:sldMasterId id="2147483680" r:id="rId7"/>
    <p:sldMasterId id="2147483692" r:id="rId8"/>
    <p:sldMasterId id="2147483704" r:id="rId9"/>
    <p:sldMasterId id="2147483724" r:id="rId10"/>
    <p:sldMasterId id="2147483744" r:id="rId11"/>
    <p:sldMasterId id="2147483764" r:id="rId12"/>
    <p:sldMasterId id="2147483784" r:id="rId13"/>
  </p:sldMasterIdLst>
  <p:notesMasterIdLst>
    <p:notesMasterId r:id="rId29"/>
  </p:notesMasterIdLst>
  <p:handoutMasterIdLst>
    <p:handoutMasterId r:id="rId30"/>
  </p:handoutMasterIdLst>
  <p:sldIdLst>
    <p:sldId id="315" r:id="rId14"/>
    <p:sldId id="316" r:id="rId15"/>
    <p:sldId id="317" r:id="rId16"/>
    <p:sldId id="318" r:id="rId17"/>
    <p:sldId id="319" r:id="rId18"/>
    <p:sldId id="320" r:id="rId19"/>
    <p:sldId id="291" r:id="rId20"/>
    <p:sldId id="322" r:id="rId21"/>
    <p:sldId id="323" r:id="rId22"/>
    <p:sldId id="324" r:id="rId23"/>
    <p:sldId id="325" r:id="rId24"/>
    <p:sldId id="326" r:id="rId25"/>
    <p:sldId id="327" r:id="rId26"/>
    <p:sldId id="328" r:id="rId27"/>
    <p:sldId id="335" r:id="rId28"/>
  </p:sldIdLst>
  <p:sldSz cx="9144000" cy="6858000" type="screen4x3"/>
  <p:notesSz cx="6797675" cy="99282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1D64"/>
    <a:srgbClr val="002060"/>
    <a:srgbClr val="BFE3EE"/>
    <a:srgbClr val="0768A9"/>
    <a:srgbClr val="CDCFD0"/>
    <a:srgbClr val="FF6309"/>
    <a:srgbClr val="FF0909"/>
    <a:srgbClr val="DADADA"/>
    <a:srgbClr val="777777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171" autoAdjust="0"/>
    <p:restoredTop sz="96213" autoAdjust="0"/>
  </p:normalViewPr>
  <p:slideViewPr>
    <p:cSldViewPr>
      <p:cViewPr>
        <p:scale>
          <a:sx n="110" d="100"/>
          <a:sy n="110" d="100"/>
        </p:scale>
        <p:origin x="-828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waw70033664\Desktop\Kopia%20produkcja%20gazu_PUI_2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waw10007039\Desktop\LNG%20w%20portach%20vs%20ceny%20w%20hubach%20NWE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../embeddings/oleObject4.bin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869378461901736E-2"/>
          <c:y val="0.12910487412552862"/>
          <c:w val="0.92261243076196531"/>
          <c:h val="0.727193123103562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Roczna produkcja gazu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cat>
            <c:numRef>
              <c:f>Sheet1!$C$1:$S$1</c:f>
              <c:numCache>
                <c:formatCode>General</c:formatCode>
                <c:ptCount val="1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  <c:pt idx="12">
                  <c:v>2028</c:v>
                </c:pt>
                <c:pt idx="13">
                  <c:v>2029</c:v>
                </c:pt>
                <c:pt idx="14">
                  <c:v>2030</c:v>
                </c:pt>
                <c:pt idx="15">
                  <c:v>2031</c:v>
                </c:pt>
                <c:pt idx="16">
                  <c:v>2032</c:v>
                </c:pt>
              </c:numCache>
            </c:numRef>
          </c:cat>
          <c:val>
            <c:numRef>
              <c:f>Sheet1!$C$3:$S$3</c:f>
              <c:numCache>
                <c:formatCode>#,##0.00</c:formatCode>
                <c:ptCount val="17"/>
                <c:pt idx="0">
                  <c:v>0.47226787942700715</c:v>
                </c:pt>
                <c:pt idx="1">
                  <c:v>0.47746178500000014</c:v>
                </c:pt>
                <c:pt idx="2">
                  <c:v>0.47821849499999991</c:v>
                </c:pt>
                <c:pt idx="3">
                  <c:v>0.41851903222375902</c:v>
                </c:pt>
                <c:pt idx="4">
                  <c:v>0.44594436534056642</c:v>
                </c:pt>
                <c:pt idx="5">
                  <c:v>0.49648338246532719</c:v>
                </c:pt>
                <c:pt idx="6">
                  <c:v>0.58065301935823166</c:v>
                </c:pt>
                <c:pt idx="7">
                  <c:v>0.5987451365360752</c:v>
                </c:pt>
                <c:pt idx="8">
                  <c:v>0.60243090304169811</c:v>
                </c:pt>
                <c:pt idx="9">
                  <c:v>0.54877690880442831</c:v>
                </c:pt>
                <c:pt idx="10">
                  <c:v>0.72605522395469491</c:v>
                </c:pt>
                <c:pt idx="11">
                  <c:v>0.61376538506610501</c:v>
                </c:pt>
                <c:pt idx="12">
                  <c:v>0.49816452630738173</c:v>
                </c:pt>
                <c:pt idx="13">
                  <c:v>0.43175578545758453</c:v>
                </c:pt>
                <c:pt idx="14">
                  <c:v>0.26910993090384838</c:v>
                </c:pt>
                <c:pt idx="15">
                  <c:v>0.1307104913321846</c:v>
                </c:pt>
                <c:pt idx="16">
                  <c:v>4.6955103902772147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7196800"/>
        <c:axId val="87198336"/>
      </c:barChart>
      <c:lineChart>
        <c:grouping val="standard"/>
        <c:varyColors val="0"/>
        <c:ser>
          <c:idx val="1"/>
          <c:order val="1"/>
          <c:tx>
            <c:strRef>
              <c:f>Sheet1!$A$4</c:f>
              <c:strCache>
                <c:ptCount val="1"/>
                <c:pt idx="0">
                  <c:v>Skumulowana produkcja gazu</c:v>
                </c:pt>
              </c:strCache>
            </c:strRef>
          </c:tx>
          <c:spPr>
            <a:ln>
              <a:solidFill>
                <a:srgbClr val="FF6309"/>
              </a:solidFill>
            </a:ln>
          </c:spPr>
          <c:marker>
            <c:symbol val="none"/>
          </c:marker>
          <c:cat>
            <c:numRef>
              <c:f>Sheet1!$C$1:$S$1</c:f>
              <c:numCache>
                <c:formatCode>General</c:formatCode>
                <c:ptCount val="1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  <c:pt idx="12">
                  <c:v>2028</c:v>
                </c:pt>
                <c:pt idx="13">
                  <c:v>2029</c:v>
                </c:pt>
                <c:pt idx="14">
                  <c:v>2030</c:v>
                </c:pt>
                <c:pt idx="15">
                  <c:v>2031</c:v>
                </c:pt>
                <c:pt idx="16">
                  <c:v>2032</c:v>
                </c:pt>
              </c:numCache>
            </c:numRef>
          </c:cat>
          <c:val>
            <c:numRef>
              <c:f>Sheet1!$C$4:$S$4</c:f>
              <c:numCache>
                <c:formatCode>#,##0.00</c:formatCode>
                <c:ptCount val="17"/>
                <c:pt idx="0">
                  <c:v>0.47226787942700715</c:v>
                </c:pt>
                <c:pt idx="1">
                  <c:v>0.94972966442700724</c:v>
                </c:pt>
                <c:pt idx="2">
                  <c:v>1.4279481594270071</c:v>
                </c:pt>
                <c:pt idx="3">
                  <c:v>1.8464671916507662</c:v>
                </c:pt>
                <c:pt idx="4">
                  <c:v>2.2924115569913326</c:v>
                </c:pt>
                <c:pt idx="5">
                  <c:v>2.78889493945666</c:v>
                </c:pt>
                <c:pt idx="6">
                  <c:v>3.3695479588148918</c:v>
                </c:pt>
                <c:pt idx="7">
                  <c:v>3.9682930953509672</c:v>
                </c:pt>
                <c:pt idx="8">
                  <c:v>4.5707239983926655</c:v>
                </c:pt>
                <c:pt idx="9">
                  <c:v>5.1195009071970938</c:v>
                </c:pt>
                <c:pt idx="10">
                  <c:v>5.8455561311517883</c:v>
                </c:pt>
                <c:pt idx="11">
                  <c:v>6.4593215162178934</c:v>
                </c:pt>
                <c:pt idx="12">
                  <c:v>6.9574860425252751</c:v>
                </c:pt>
                <c:pt idx="13">
                  <c:v>7.3892418279828593</c:v>
                </c:pt>
                <c:pt idx="14">
                  <c:v>7.6583517588867078</c:v>
                </c:pt>
                <c:pt idx="15">
                  <c:v>7.7890622502188922</c:v>
                </c:pt>
                <c:pt idx="16">
                  <c:v>7.836017354121664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209856"/>
        <c:axId val="87208320"/>
      </c:lineChart>
      <c:catAx>
        <c:axId val="871968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rgbClr val="002060"/>
            </a:solidFill>
          </a:ln>
        </c:spPr>
        <c:txPr>
          <a:bodyPr/>
          <a:lstStyle/>
          <a:p>
            <a:pPr>
              <a:defRPr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pl-PL"/>
          </a:p>
        </c:txPr>
        <c:crossAx val="87198336"/>
        <c:crosses val="autoZero"/>
        <c:auto val="1"/>
        <c:lblAlgn val="ctr"/>
        <c:lblOffset val="100"/>
        <c:noMultiLvlLbl val="0"/>
      </c:catAx>
      <c:valAx>
        <c:axId val="87198336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#,##0.0" sourceLinked="0"/>
        <c:majorTickMark val="out"/>
        <c:minorTickMark val="none"/>
        <c:tickLblPos val="nextTo"/>
        <c:spPr>
          <a:ln>
            <a:solidFill>
              <a:srgbClr val="002060"/>
            </a:solidFill>
          </a:ln>
        </c:spPr>
        <c:txPr>
          <a:bodyPr/>
          <a:lstStyle/>
          <a:p>
            <a:pPr>
              <a:defRPr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pl-PL"/>
          </a:p>
        </c:txPr>
        <c:crossAx val="87196800"/>
        <c:crosses val="autoZero"/>
        <c:crossBetween val="between"/>
        <c:majorUnit val="0.2"/>
      </c:valAx>
      <c:valAx>
        <c:axId val="87208320"/>
        <c:scaling>
          <c:orientation val="minMax"/>
        </c:scaling>
        <c:delete val="0"/>
        <c:axPos val="r"/>
        <c:numFmt formatCode="#,##0.0" sourceLinked="0"/>
        <c:majorTickMark val="out"/>
        <c:minorTickMark val="none"/>
        <c:tickLblPos val="nextTo"/>
        <c:spPr>
          <a:ln>
            <a:solidFill>
              <a:srgbClr val="002060"/>
            </a:solidFill>
          </a:ln>
        </c:spPr>
        <c:txPr>
          <a:bodyPr/>
          <a:lstStyle/>
          <a:p>
            <a:pPr>
              <a:defRPr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pl-PL"/>
          </a:p>
        </c:txPr>
        <c:crossAx val="87209856"/>
        <c:crosses val="max"/>
        <c:crossBetween val="between"/>
      </c:valAx>
      <c:catAx>
        <c:axId val="872098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7208320"/>
        <c:crosses val="autoZero"/>
        <c:auto val="1"/>
        <c:lblAlgn val="ctr"/>
        <c:lblOffset val="100"/>
        <c:noMultiLvlLbl val="0"/>
      </c:catAx>
      <c:spPr>
        <a:ln>
          <a:noFill/>
        </a:ln>
      </c:spPr>
    </c:plotArea>
    <c:legend>
      <c:legendPos val="b"/>
      <c:layout>
        <c:manualLayout>
          <c:xMode val="edge"/>
          <c:yMode val="edge"/>
          <c:x val="0.10509477861085968"/>
          <c:y val="0.94757840753776745"/>
          <c:w val="0.87408122189241788"/>
          <c:h val="5.2421592462232547E-2"/>
        </c:manualLayout>
      </c:layout>
      <c:overlay val="0"/>
      <c:txPr>
        <a:bodyPr/>
        <a:lstStyle/>
        <a:p>
          <a:pPr>
            <a:defRPr b="1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defRPr>
          </a:pPr>
          <a:endParaRPr lang="pl-PL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8.5806069356612197E-2"/>
          <c:y val="4.2917360579252301E-2"/>
          <c:w val="0.90270945787095203"/>
          <c:h val="0.75180623291911497"/>
        </c:manualLayout>
      </c:layout>
      <c:lineChart>
        <c:grouping val="standard"/>
        <c:varyColors val="0"/>
        <c:ser>
          <c:idx val="0"/>
          <c:order val="0"/>
          <c:tx>
            <c:strRef>
              <c:f>wykresy2!$C$2</c:f>
              <c:strCache>
                <c:ptCount val="1"/>
                <c:pt idx="0">
                  <c:v>NBP - średnia notowań FM na dany miesiąc</c:v>
                </c:pt>
              </c:strCache>
            </c:strRef>
          </c:tx>
          <c:spPr>
            <a:ln>
              <a:solidFill>
                <a:srgbClr val="FFFFFF">
                  <a:lumMod val="65000"/>
                </a:srgbClr>
              </a:solidFill>
            </a:ln>
          </c:spPr>
          <c:marker>
            <c:symbol val="none"/>
          </c:marker>
          <c:cat>
            <c:strRef>
              <c:f>wykresy2!$B$3:$B$19</c:f>
              <c:strCache>
                <c:ptCount val="17"/>
                <c:pt idx="0">
                  <c:v>M-09-14</c:v>
                </c:pt>
                <c:pt idx="1">
                  <c:v>M-10-14</c:v>
                </c:pt>
                <c:pt idx="2">
                  <c:v>M-11-14</c:v>
                </c:pt>
                <c:pt idx="3">
                  <c:v>M-12-14</c:v>
                </c:pt>
                <c:pt idx="4">
                  <c:v>M-01-15</c:v>
                </c:pt>
                <c:pt idx="5">
                  <c:v>M-02-15</c:v>
                </c:pt>
                <c:pt idx="6">
                  <c:v>M-03-15</c:v>
                </c:pt>
                <c:pt idx="7">
                  <c:v>M-04-15</c:v>
                </c:pt>
                <c:pt idx="8">
                  <c:v>M-05-15</c:v>
                </c:pt>
                <c:pt idx="9">
                  <c:v>M-06-15</c:v>
                </c:pt>
                <c:pt idx="10">
                  <c:v>M-07-15</c:v>
                </c:pt>
                <c:pt idx="11">
                  <c:v>M-08-15</c:v>
                </c:pt>
                <c:pt idx="12">
                  <c:v>M-09-15</c:v>
                </c:pt>
                <c:pt idx="13">
                  <c:v>M-10-15</c:v>
                </c:pt>
                <c:pt idx="14">
                  <c:v>M-11-15</c:v>
                </c:pt>
                <c:pt idx="15">
                  <c:v>M-12-15</c:v>
                </c:pt>
                <c:pt idx="16">
                  <c:v>M-01-16</c:v>
                </c:pt>
              </c:strCache>
            </c:strRef>
          </c:cat>
          <c:val>
            <c:numRef>
              <c:f>wykresy2!$C$3:$C$19</c:f>
              <c:numCache>
                <c:formatCode>0.00</c:formatCode>
                <c:ptCount val="17"/>
                <c:pt idx="0">
                  <c:v>18.782582652264509</c:v>
                </c:pt>
                <c:pt idx="1">
                  <c:v>22.77655003871487</c:v>
                </c:pt>
                <c:pt idx="2">
                  <c:v>24.428153257193291</c:v>
                </c:pt>
                <c:pt idx="3">
                  <c:v>24.873497876544661</c:v>
                </c:pt>
                <c:pt idx="4">
                  <c:v>24.452974740039419</c:v>
                </c:pt>
                <c:pt idx="5">
                  <c:v>20.8502119491421</c:v>
                </c:pt>
                <c:pt idx="6">
                  <c:v>22.16849209081419</c:v>
                </c:pt>
                <c:pt idx="7">
                  <c:v>21.12050715802599</c:v>
                </c:pt>
                <c:pt idx="8">
                  <c:v>20.355044105113731</c:v>
                </c:pt>
                <c:pt idx="9">
                  <c:v>18.90007518952013</c:v>
                </c:pt>
                <c:pt idx="10">
                  <c:v>19.119192092502889</c:v>
                </c:pt>
                <c:pt idx="11">
                  <c:v>19.260377924530509</c:v>
                </c:pt>
                <c:pt idx="12">
                  <c:v>17.935320583116098</c:v>
                </c:pt>
                <c:pt idx="13">
                  <c:v>18.353624112718869</c:v>
                </c:pt>
                <c:pt idx="14">
                  <c:v>18.231553355973439</c:v>
                </c:pt>
                <c:pt idx="15">
                  <c:v>16.955276696600031</c:v>
                </c:pt>
                <c:pt idx="16">
                  <c:v>15.95569174963864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wykresy2!$D$2</c:f>
              <c:strCache>
                <c:ptCount val="1"/>
                <c:pt idx="0">
                  <c:v>TTF - średnia notowań FM na dany miesiąc</c:v>
                </c:pt>
              </c:strCache>
            </c:strRef>
          </c:tx>
          <c:spPr>
            <a:ln>
              <a:solidFill>
                <a:srgbClr val="00B0F0"/>
              </a:solidFill>
            </a:ln>
          </c:spPr>
          <c:marker>
            <c:symbol val="none"/>
          </c:marker>
          <c:cat>
            <c:strRef>
              <c:f>wykresy2!$B$3:$B$19</c:f>
              <c:strCache>
                <c:ptCount val="17"/>
                <c:pt idx="0">
                  <c:v>M-09-14</c:v>
                </c:pt>
                <c:pt idx="1">
                  <c:v>M-10-14</c:v>
                </c:pt>
                <c:pt idx="2">
                  <c:v>M-11-14</c:v>
                </c:pt>
                <c:pt idx="3">
                  <c:v>M-12-14</c:v>
                </c:pt>
                <c:pt idx="4">
                  <c:v>M-01-15</c:v>
                </c:pt>
                <c:pt idx="5">
                  <c:v>M-02-15</c:v>
                </c:pt>
                <c:pt idx="6">
                  <c:v>M-03-15</c:v>
                </c:pt>
                <c:pt idx="7">
                  <c:v>M-04-15</c:v>
                </c:pt>
                <c:pt idx="8">
                  <c:v>M-05-15</c:v>
                </c:pt>
                <c:pt idx="9">
                  <c:v>M-06-15</c:v>
                </c:pt>
                <c:pt idx="10">
                  <c:v>M-07-15</c:v>
                </c:pt>
                <c:pt idx="11">
                  <c:v>M-08-15</c:v>
                </c:pt>
                <c:pt idx="12">
                  <c:v>M-09-15</c:v>
                </c:pt>
                <c:pt idx="13">
                  <c:v>M-10-15</c:v>
                </c:pt>
                <c:pt idx="14">
                  <c:v>M-11-15</c:v>
                </c:pt>
                <c:pt idx="15">
                  <c:v>M-12-15</c:v>
                </c:pt>
                <c:pt idx="16">
                  <c:v>M-01-16</c:v>
                </c:pt>
              </c:strCache>
            </c:strRef>
          </c:cat>
          <c:val>
            <c:numRef>
              <c:f>wykresy2!$D$3:$D$19</c:f>
              <c:numCache>
                <c:formatCode>0.00</c:formatCode>
                <c:ptCount val="17"/>
                <c:pt idx="0">
                  <c:v>18.067299999999989</c:v>
                </c:pt>
                <c:pt idx="1">
                  <c:v>21.916544999999989</c:v>
                </c:pt>
                <c:pt idx="2">
                  <c:v>23.015521</c:v>
                </c:pt>
                <c:pt idx="3">
                  <c:v>23.201250000000009</c:v>
                </c:pt>
                <c:pt idx="4">
                  <c:v>22.822863000000009</c:v>
                </c:pt>
                <c:pt idx="5">
                  <c:v>19.931190000000001</c:v>
                </c:pt>
                <c:pt idx="6">
                  <c:v>22.055499999999981</c:v>
                </c:pt>
                <c:pt idx="7">
                  <c:v>21.61090900000001</c:v>
                </c:pt>
                <c:pt idx="8">
                  <c:v>21.468952000000002</c:v>
                </c:pt>
                <c:pt idx="9">
                  <c:v>20.438285</c:v>
                </c:pt>
                <c:pt idx="10">
                  <c:v>20.277453999999999</c:v>
                </c:pt>
                <c:pt idx="11">
                  <c:v>20.755042999999979</c:v>
                </c:pt>
                <c:pt idx="12">
                  <c:v>19.502475999999991</c:v>
                </c:pt>
                <c:pt idx="13">
                  <c:v>19.105862999999999</c:v>
                </c:pt>
                <c:pt idx="14">
                  <c:v>18.33190900000001</c:v>
                </c:pt>
                <c:pt idx="15">
                  <c:v>17.476476000000002</c:v>
                </c:pt>
                <c:pt idx="16">
                  <c:v>16.12895400000001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wykresy2!$E$2</c:f>
              <c:strCache>
                <c:ptCount val="1"/>
                <c:pt idx="0">
                  <c:v>LNG landed prices UK - średnia z miesiąca</c:v>
                </c:pt>
              </c:strCache>
            </c:strRef>
          </c:tx>
          <c:spPr>
            <a:ln>
              <a:solidFill>
                <a:srgbClr val="002060"/>
              </a:solidFill>
            </a:ln>
          </c:spPr>
          <c:marker>
            <c:symbol val="none"/>
          </c:marker>
          <c:cat>
            <c:strRef>
              <c:f>wykresy2!$B$3:$B$19</c:f>
              <c:strCache>
                <c:ptCount val="17"/>
                <c:pt idx="0">
                  <c:v>M-09-14</c:v>
                </c:pt>
                <c:pt idx="1">
                  <c:v>M-10-14</c:v>
                </c:pt>
                <c:pt idx="2">
                  <c:v>M-11-14</c:v>
                </c:pt>
                <c:pt idx="3">
                  <c:v>M-12-14</c:v>
                </c:pt>
                <c:pt idx="4">
                  <c:v>M-01-15</c:v>
                </c:pt>
                <c:pt idx="5">
                  <c:v>M-02-15</c:v>
                </c:pt>
                <c:pt idx="6">
                  <c:v>M-03-15</c:v>
                </c:pt>
                <c:pt idx="7">
                  <c:v>M-04-15</c:v>
                </c:pt>
                <c:pt idx="8">
                  <c:v>M-05-15</c:v>
                </c:pt>
                <c:pt idx="9">
                  <c:v>M-06-15</c:v>
                </c:pt>
                <c:pt idx="10">
                  <c:v>M-07-15</c:v>
                </c:pt>
                <c:pt idx="11">
                  <c:v>M-08-15</c:v>
                </c:pt>
                <c:pt idx="12">
                  <c:v>M-09-15</c:v>
                </c:pt>
                <c:pt idx="13">
                  <c:v>M-10-15</c:v>
                </c:pt>
                <c:pt idx="14">
                  <c:v>M-11-15</c:v>
                </c:pt>
                <c:pt idx="15">
                  <c:v>M-12-15</c:v>
                </c:pt>
                <c:pt idx="16">
                  <c:v>M-01-16</c:v>
                </c:pt>
              </c:strCache>
            </c:strRef>
          </c:cat>
          <c:val>
            <c:numRef>
              <c:f>wykresy2!$E$3:$E$19</c:f>
              <c:numCache>
                <c:formatCode>0.00</c:formatCode>
                <c:ptCount val="17"/>
                <c:pt idx="0">
                  <c:v>26.857584262107451</c:v>
                </c:pt>
                <c:pt idx="1">
                  <c:v>28.227226601382551</c:v>
                </c:pt>
                <c:pt idx="2">
                  <c:v>27.455818847078191</c:v>
                </c:pt>
                <c:pt idx="3">
                  <c:v>26.87857494929942</c:v>
                </c:pt>
                <c:pt idx="4">
                  <c:v>22.536126536463531</c:v>
                </c:pt>
                <c:pt idx="5">
                  <c:v>23.46496444470759</c:v>
                </c:pt>
                <c:pt idx="6">
                  <c:v>21.819819336038051</c:v>
                </c:pt>
                <c:pt idx="7">
                  <c:v>20.820137858521139</c:v>
                </c:pt>
                <c:pt idx="8">
                  <c:v>20.31636136591424</c:v>
                </c:pt>
                <c:pt idx="9">
                  <c:v>20.8594953970061</c:v>
                </c:pt>
                <c:pt idx="10">
                  <c:v>21.07674900944281</c:v>
                </c:pt>
                <c:pt idx="11">
                  <c:v>19.85719008359019</c:v>
                </c:pt>
                <c:pt idx="12">
                  <c:v>20.27070662127171</c:v>
                </c:pt>
                <c:pt idx="13">
                  <c:v>20.151059704277579</c:v>
                </c:pt>
                <c:pt idx="14">
                  <c:v>18.39413918631087</c:v>
                </c:pt>
                <c:pt idx="15">
                  <c:v>16.98671361009022</c:v>
                </c:pt>
                <c:pt idx="16">
                  <c:v>15.1526523166931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wykresy2!$F$2</c:f>
              <c:strCache>
                <c:ptCount val="1"/>
                <c:pt idx="0">
                  <c:v>LNG landed prices Belgium - średnia z miesiąca</c:v>
                </c:pt>
              </c:strCache>
            </c:strRef>
          </c:tx>
          <c:spPr>
            <a:ln>
              <a:solidFill>
                <a:srgbClr val="FF6600"/>
              </a:solidFill>
            </a:ln>
          </c:spPr>
          <c:marker>
            <c:symbol val="none"/>
          </c:marker>
          <c:cat>
            <c:strRef>
              <c:f>wykresy2!$B$3:$B$19</c:f>
              <c:strCache>
                <c:ptCount val="17"/>
                <c:pt idx="0">
                  <c:v>M-09-14</c:v>
                </c:pt>
                <c:pt idx="1">
                  <c:v>M-10-14</c:v>
                </c:pt>
                <c:pt idx="2">
                  <c:v>M-11-14</c:v>
                </c:pt>
                <c:pt idx="3">
                  <c:v>M-12-14</c:v>
                </c:pt>
                <c:pt idx="4">
                  <c:v>M-01-15</c:v>
                </c:pt>
                <c:pt idx="5">
                  <c:v>M-02-15</c:v>
                </c:pt>
                <c:pt idx="6">
                  <c:v>M-03-15</c:v>
                </c:pt>
                <c:pt idx="7">
                  <c:v>M-04-15</c:v>
                </c:pt>
                <c:pt idx="8">
                  <c:v>M-05-15</c:v>
                </c:pt>
                <c:pt idx="9">
                  <c:v>M-06-15</c:v>
                </c:pt>
                <c:pt idx="10">
                  <c:v>M-07-15</c:v>
                </c:pt>
                <c:pt idx="11">
                  <c:v>M-08-15</c:v>
                </c:pt>
                <c:pt idx="12">
                  <c:v>M-09-15</c:v>
                </c:pt>
                <c:pt idx="13">
                  <c:v>M-10-15</c:v>
                </c:pt>
                <c:pt idx="14">
                  <c:v>M-11-15</c:v>
                </c:pt>
                <c:pt idx="15">
                  <c:v>M-12-15</c:v>
                </c:pt>
                <c:pt idx="16">
                  <c:v>M-01-16</c:v>
                </c:pt>
              </c:strCache>
            </c:strRef>
          </c:cat>
          <c:val>
            <c:numRef>
              <c:f>wykresy2!$F$3:$F$19</c:f>
              <c:numCache>
                <c:formatCode>0.00</c:formatCode>
                <c:ptCount val="17"/>
                <c:pt idx="0">
                  <c:v>26.870178674422629</c:v>
                </c:pt>
                <c:pt idx="1">
                  <c:v>27.72345010877563</c:v>
                </c:pt>
                <c:pt idx="2">
                  <c:v>26.58995300041002</c:v>
                </c:pt>
                <c:pt idx="3">
                  <c:v>26.16489158477291</c:v>
                </c:pt>
                <c:pt idx="4">
                  <c:v>21.914277428401871</c:v>
                </c:pt>
                <c:pt idx="5">
                  <c:v>22.788014782767</c:v>
                </c:pt>
                <c:pt idx="6">
                  <c:v>21.712766831359069</c:v>
                </c:pt>
                <c:pt idx="7">
                  <c:v>21.07202610482463</c:v>
                </c:pt>
                <c:pt idx="8">
                  <c:v>20.82800936621814</c:v>
                </c:pt>
                <c:pt idx="9">
                  <c:v>20.898852935490989</c:v>
                </c:pt>
                <c:pt idx="10">
                  <c:v>20.969696504763821</c:v>
                </c:pt>
                <c:pt idx="11">
                  <c:v>19.741741304034431</c:v>
                </c:pt>
                <c:pt idx="12">
                  <c:v>19.829902190240649</c:v>
                </c:pt>
                <c:pt idx="13">
                  <c:v>19.279946185811411</c:v>
                </c:pt>
                <c:pt idx="14">
                  <c:v>17.594394004297349</c:v>
                </c:pt>
                <c:pt idx="15">
                  <c:v>16.28614942505871</c:v>
                </c:pt>
                <c:pt idx="16">
                  <c:v>14.255300439236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9758720"/>
        <c:axId val="89780992"/>
      </c:lineChart>
      <c:catAx>
        <c:axId val="897587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89780992"/>
        <c:crosses val="autoZero"/>
        <c:auto val="1"/>
        <c:lblAlgn val="ctr"/>
        <c:lblOffset val="100"/>
        <c:tickLblSkip val="2"/>
        <c:noMultiLvlLbl val="0"/>
      </c:catAx>
      <c:valAx>
        <c:axId val="89780992"/>
        <c:scaling>
          <c:orientation val="minMax"/>
          <c:max val="29"/>
          <c:min val="13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pl-PL"/>
                  <a:t>EUR/MWh</a:t>
                </a:r>
              </a:p>
            </c:rich>
          </c:tx>
          <c:layout/>
          <c:overlay val="0"/>
        </c:title>
        <c:numFmt formatCode="0.00" sourceLinked="1"/>
        <c:majorTickMark val="out"/>
        <c:minorTickMark val="none"/>
        <c:tickLblPos val="nextTo"/>
        <c:crossAx val="89758720"/>
        <c:crosses val="autoZero"/>
        <c:crossBetween val="between"/>
        <c:majorUnit val="4"/>
      </c:valAx>
    </c:plotArea>
    <c:legend>
      <c:legendPos val="b"/>
      <c:layout>
        <c:manualLayout>
          <c:xMode val="edge"/>
          <c:yMode val="edge"/>
          <c:x val="0"/>
          <c:y val="0.88666392498088997"/>
          <c:w val="1"/>
          <c:h val="0.10510330720623499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100">
          <a:solidFill>
            <a:srgbClr val="002060"/>
          </a:solidFill>
        </a:defRPr>
      </a:pPr>
      <a:endParaRPr lang="pl-PL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337882082909399"/>
          <c:y val="9.4131283738640895E-2"/>
          <c:w val="0.84769853532709405"/>
          <c:h val="0.63032503836260001"/>
        </c:manualLayout>
      </c:layout>
      <c:areaChart>
        <c:grouping val="stacked"/>
        <c:varyColors val="0"/>
        <c:ser>
          <c:idx val="0"/>
          <c:order val="0"/>
          <c:tx>
            <c:strRef>
              <c:f>'[IHS Energy Global Liquefaction Buildup Graphing Tool - 8 February(1).xlsm]Global Liquefaction Forecast'!$J$441</c:f>
              <c:strCache>
                <c:ptCount val="1"/>
                <c:pt idx="0">
                  <c:v>Algeria</c:v>
                </c:pt>
              </c:strCache>
            </c:strRef>
          </c:tx>
          <c:spPr>
            <a:solidFill>
              <a:srgbClr val="0097D1"/>
            </a:solidFill>
            <a:ln>
              <a:noFill/>
            </a:ln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41:$AZ$441</c:f>
              <c:numCache>
                <c:formatCode>_(* #,##0.0_);_(* \(#,##0.0\);_(* ""??_);_(@_)</c:formatCode>
                <c:ptCount val="41"/>
                <c:pt idx="0">
                  <c:v>23.2</c:v>
                </c:pt>
                <c:pt idx="1">
                  <c:v>23.2</c:v>
                </c:pt>
                <c:pt idx="2">
                  <c:v>23.2</c:v>
                </c:pt>
                <c:pt idx="3">
                  <c:v>23.2</c:v>
                </c:pt>
                <c:pt idx="4">
                  <c:v>23.2</c:v>
                </c:pt>
                <c:pt idx="5">
                  <c:v>23.2</c:v>
                </c:pt>
                <c:pt idx="6">
                  <c:v>23.2</c:v>
                </c:pt>
                <c:pt idx="7">
                  <c:v>23.2</c:v>
                </c:pt>
                <c:pt idx="8">
                  <c:v>23.2</c:v>
                </c:pt>
                <c:pt idx="9">
                  <c:v>23.2</c:v>
                </c:pt>
                <c:pt idx="10">
                  <c:v>23.2</c:v>
                </c:pt>
                <c:pt idx="11">
                  <c:v>23.2</c:v>
                </c:pt>
                <c:pt idx="12">
                  <c:v>23.2</c:v>
                </c:pt>
                <c:pt idx="13">
                  <c:v>23.2</c:v>
                </c:pt>
                <c:pt idx="14">
                  <c:v>20.350000000000001</c:v>
                </c:pt>
                <c:pt idx="15">
                  <c:v>20.2</c:v>
                </c:pt>
                <c:pt idx="16">
                  <c:v>20.2</c:v>
                </c:pt>
                <c:pt idx="17">
                  <c:v>20.2</c:v>
                </c:pt>
                <c:pt idx="18">
                  <c:v>20.2</c:v>
                </c:pt>
                <c:pt idx="19">
                  <c:v>20.2</c:v>
                </c:pt>
                <c:pt idx="20">
                  <c:v>20.13000000000001</c:v>
                </c:pt>
                <c:pt idx="21">
                  <c:v>19.3</c:v>
                </c:pt>
                <c:pt idx="22">
                  <c:v>19.3</c:v>
                </c:pt>
                <c:pt idx="23">
                  <c:v>19.37</c:v>
                </c:pt>
                <c:pt idx="24">
                  <c:v>24.19</c:v>
                </c:pt>
                <c:pt idx="25">
                  <c:v>26.9</c:v>
                </c:pt>
                <c:pt idx="26">
                  <c:v>25.3</c:v>
                </c:pt>
                <c:pt idx="27">
                  <c:v>25.3</c:v>
                </c:pt>
                <c:pt idx="28">
                  <c:v>17.399999999999999</c:v>
                </c:pt>
                <c:pt idx="29">
                  <c:v>17.399999999999999</c:v>
                </c:pt>
                <c:pt idx="30">
                  <c:v>17.399999999999999</c:v>
                </c:pt>
                <c:pt idx="31">
                  <c:v>17.399999999999999</c:v>
                </c:pt>
                <c:pt idx="32">
                  <c:v>17.399999999999999</c:v>
                </c:pt>
                <c:pt idx="33">
                  <c:v>17.399999999999999</c:v>
                </c:pt>
                <c:pt idx="34">
                  <c:v>17.399999999999999</c:v>
                </c:pt>
                <c:pt idx="35">
                  <c:v>17.399999999999999</c:v>
                </c:pt>
                <c:pt idx="36">
                  <c:v>17.399999999999999</c:v>
                </c:pt>
                <c:pt idx="37">
                  <c:v>17.399999999999999</c:v>
                </c:pt>
                <c:pt idx="38">
                  <c:v>17.399999999999999</c:v>
                </c:pt>
                <c:pt idx="39">
                  <c:v>17.399999999999999</c:v>
                </c:pt>
                <c:pt idx="40">
                  <c:v>17.399999999999999</c:v>
                </c:pt>
              </c:numCache>
            </c:numRef>
          </c:val>
        </c:ser>
        <c:ser>
          <c:idx val="1"/>
          <c:order val="1"/>
          <c:tx>
            <c:strRef>
              <c:f>'[IHS Energy Global Liquefaction Buildup Graphing Tool - 8 February(1).xlsm]Global Liquefaction Forecast'!$J$442</c:f>
              <c:strCache>
                <c:ptCount val="1"/>
                <c:pt idx="0">
                  <c:v>Angola</c:v>
                </c:pt>
              </c:strCache>
            </c:strRef>
          </c:tx>
          <c:spPr>
            <a:solidFill>
              <a:srgbClr val="A1ABB2"/>
            </a:solidFill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42:$AZ$442</c:f>
              <c:numCache>
                <c:formatCode>_(* #,##0.0_);_(* \(#,##0.0\);_(* ""??_);_(@_)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.86660000000000004</c:v>
                </c:pt>
                <c:pt idx="25">
                  <c:v>0</c:v>
                </c:pt>
                <c:pt idx="26">
                  <c:v>3.9</c:v>
                </c:pt>
                <c:pt idx="27">
                  <c:v>5.2</c:v>
                </c:pt>
                <c:pt idx="28">
                  <c:v>5.2</c:v>
                </c:pt>
                <c:pt idx="29">
                  <c:v>5.2</c:v>
                </c:pt>
                <c:pt idx="30">
                  <c:v>5.2</c:v>
                </c:pt>
                <c:pt idx="31">
                  <c:v>5.2</c:v>
                </c:pt>
                <c:pt idx="32">
                  <c:v>5.2</c:v>
                </c:pt>
                <c:pt idx="33">
                  <c:v>5.2</c:v>
                </c:pt>
                <c:pt idx="34">
                  <c:v>5.2</c:v>
                </c:pt>
                <c:pt idx="35">
                  <c:v>5.2</c:v>
                </c:pt>
                <c:pt idx="36">
                  <c:v>5.2</c:v>
                </c:pt>
                <c:pt idx="37">
                  <c:v>5.2</c:v>
                </c:pt>
                <c:pt idx="38">
                  <c:v>5.2</c:v>
                </c:pt>
                <c:pt idx="39">
                  <c:v>5.2</c:v>
                </c:pt>
                <c:pt idx="40">
                  <c:v>5.2</c:v>
                </c:pt>
              </c:numCache>
            </c:numRef>
          </c:val>
        </c:ser>
        <c:ser>
          <c:idx val="2"/>
          <c:order val="2"/>
          <c:tx>
            <c:strRef>
              <c:f>'[IHS Energy Global Liquefaction Buildup Graphing Tool - 8 February(1).xlsm]Global Liquefaction Forecast'!$J$443</c:f>
              <c:strCache>
                <c:ptCount val="1"/>
                <c:pt idx="0">
                  <c:v>Australia</c:v>
                </c:pt>
              </c:strCache>
            </c:strRef>
          </c:tx>
          <c:spPr>
            <a:solidFill>
              <a:srgbClr val="103C68"/>
            </a:solidFill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43:$AZ$443</c:f>
              <c:numCache>
                <c:formatCode>_(* #,##0.0_);_(* \(#,##0.0\);_(* ""??_);_(@_)</c:formatCode>
                <c:ptCount val="41"/>
                <c:pt idx="0">
                  <c:v>5</c:v>
                </c:pt>
                <c:pt idx="1">
                  <c:v>5</c:v>
                </c:pt>
                <c:pt idx="2">
                  <c:v>7.5</c:v>
                </c:pt>
                <c:pt idx="3">
                  <c:v>7.5</c:v>
                </c:pt>
                <c:pt idx="4">
                  <c:v>7.5</c:v>
                </c:pt>
                <c:pt idx="5">
                  <c:v>7.5</c:v>
                </c:pt>
                <c:pt idx="6">
                  <c:v>7.5</c:v>
                </c:pt>
                <c:pt idx="7">
                  <c:v>7.5</c:v>
                </c:pt>
                <c:pt idx="8">
                  <c:v>7.5</c:v>
                </c:pt>
                <c:pt idx="9">
                  <c:v>7.5</c:v>
                </c:pt>
                <c:pt idx="10">
                  <c:v>7.5</c:v>
                </c:pt>
                <c:pt idx="11">
                  <c:v>7.5</c:v>
                </c:pt>
                <c:pt idx="12">
                  <c:v>7.5</c:v>
                </c:pt>
                <c:pt idx="13">
                  <c:v>7.5</c:v>
                </c:pt>
                <c:pt idx="14">
                  <c:v>9.7100000000000009</c:v>
                </c:pt>
                <c:pt idx="15">
                  <c:v>11.9</c:v>
                </c:pt>
                <c:pt idx="16">
                  <c:v>12.78</c:v>
                </c:pt>
                <c:pt idx="17">
                  <c:v>15.4</c:v>
                </c:pt>
                <c:pt idx="18">
                  <c:v>16.5</c:v>
                </c:pt>
                <c:pt idx="19">
                  <c:v>19.8</c:v>
                </c:pt>
                <c:pt idx="20">
                  <c:v>19.899999999999999</c:v>
                </c:pt>
                <c:pt idx="21">
                  <c:v>20</c:v>
                </c:pt>
                <c:pt idx="22">
                  <c:v>22.89</c:v>
                </c:pt>
                <c:pt idx="23">
                  <c:v>24.3</c:v>
                </c:pt>
                <c:pt idx="24">
                  <c:v>24.3</c:v>
                </c:pt>
                <c:pt idx="25">
                  <c:v>27.85</c:v>
                </c:pt>
                <c:pt idx="26">
                  <c:v>49.454899999999988</c:v>
                </c:pt>
                <c:pt idx="27">
                  <c:v>66.321600000000004</c:v>
                </c:pt>
                <c:pt idx="28">
                  <c:v>84.017500000000027</c:v>
                </c:pt>
                <c:pt idx="29">
                  <c:v>86.600000000000009</c:v>
                </c:pt>
                <c:pt idx="30">
                  <c:v>86.600000000000009</c:v>
                </c:pt>
                <c:pt idx="31">
                  <c:v>86.600000000000009</c:v>
                </c:pt>
                <c:pt idx="32">
                  <c:v>86.600000000000009</c:v>
                </c:pt>
                <c:pt idx="33">
                  <c:v>86.600000000000009</c:v>
                </c:pt>
                <c:pt idx="34">
                  <c:v>86.600000000000009</c:v>
                </c:pt>
                <c:pt idx="35">
                  <c:v>86.600000000000009</c:v>
                </c:pt>
                <c:pt idx="36">
                  <c:v>88.88000000000001</c:v>
                </c:pt>
                <c:pt idx="37">
                  <c:v>91.800000000000011</c:v>
                </c:pt>
                <c:pt idx="38">
                  <c:v>94.4</c:v>
                </c:pt>
                <c:pt idx="39">
                  <c:v>96.68</c:v>
                </c:pt>
                <c:pt idx="40">
                  <c:v>98.300000000000011</c:v>
                </c:pt>
              </c:numCache>
            </c:numRef>
          </c:val>
        </c:ser>
        <c:ser>
          <c:idx val="3"/>
          <c:order val="3"/>
          <c:tx>
            <c:strRef>
              <c:f>'[IHS Energy Global Liquefaction Buildup Graphing Tool - 8 February(1).xlsm]Global Liquefaction Forecast'!$J$445</c:f>
              <c:strCache>
                <c:ptCount val="1"/>
                <c:pt idx="0">
                  <c:v>Canada</c:v>
                </c:pt>
              </c:strCache>
            </c:strRef>
          </c:tx>
          <c:spPr>
            <a:solidFill>
              <a:srgbClr val="BED158"/>
            </a:solidFill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45:$AZ$445</c:f>
              <c:numCache>
                <c:formatCode>_(* #,##0.0_);_(* \(#,##0.0\);_(* ""??_);_(@_)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.55000000000000004</c:v>
                </c:pt>
                <c:pt idx="31">
                  <c:v>0.55000000000000004</c:v>
                </c:pt>
                <c:pt idx="32">
                  <c:v>0.55000000000000004</c:v>
                </c:pt>
                <c:pt idx="33">
                  <c:v>0.55000000000000004</c:v>
                </c:pt>
                <c:pt idx="34">
                  <c:v>2.5499000000000001</c:v>
                </c:pt>
                <c:pt idx="35">
                  <c:v>10.539899999999999</c:v>
                </c:pt>
                <c:pt idx="36">
                  <c:v>20.54</c:v>
                </c:pt>
                <c:pt idx="37">
                  <c:v>24.55</c:v>
                </c:pt>
                <c:pt idx="38">
                  <c:v>24.55</c:v>
                </c:pt>
                <c:pt idx="39">
                  <c:v>26.21</c:v>
                </c:pt>
                <c:pt idx="40">
                  <c:v>31.21</c:v>
                </c:pt>
              </c:numCache>
            </c:numRef>
          </c:val>
        </c:ser>
        <c:ser>
          <c:idx val="4"/>
          <c:order val="4"/>
          <c:tx>
            <c:strRef>
              <c:f>'[IHS Energy Global Liquefaction Buildup Graphing Tool - 8 February(1).xlsm]Global Liquefaction Forecast'!$J$446</c:f>
              <c:strCache>
                <c:ptCount val="1"/>
                <c:pt idx="0">
                  <c:v>Colombia</c:v>
                </c:pt>
              </c:strCache>
            </c:strRef>
          </c:tx>
          <c:spPr>
            <a:solidFill>
              <a:srgbClr val="2A78A8"/>
            </a:solidFill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46:$AZ$446</c:f>
              <c:numCache>
                <c:formatCode>_(* #,##0.0_);_(* \(#,##0.0\);_(* ""??_);_(@_)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</c:ser>
        <c:ser>
          <c:idx val="5"/>
          <c:order val="5"/>
          <c:tx>
            <c:strRef>
              <c:f>'[IHS Energy Global Liquefaction Buildup Graphing Tool - 8 February(1).xlsm]Global Liquefaction Forecast'!$J$447</c:f>
              <c:strCache>
                <c:ptCount val="1"/>
                <c:pt idx="0">
                  <c:v>Egypt</c:v>
                </c:pt>
              </c:strCache>
            </c:strRef>
          </c:tx>
          <c:spPr>
            <a:solidFill>
              <a:srgbClr val="FDBA4D"/>
            </a:solidFill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47:$AZ$447</c:f>
              <c:numCache>
                <c:formatCode>_(* #,##0.0_);_(* \(#,##0.0\);_(* ""??_);_(@_)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7.8000000000000007</c:v>
                </c:pt>
                <c:pt idx="16">
                  <c:v>12.2</c:v>
                </c:pt>
                <c:pt idx="17">
                  <c:v>12.2</c:v>
                </c:pt>
                <c:pt idx="18">
                  <c:v>12.2</c:v>
                </c:pt>
                <c:pt idx="19">
                  <c:v>12.2</c:v>
                </c:pt>
                <c:pt idx="20">
                  <c:v>12.2</c:v>
                </c:pt>
                <c:pt idx="21">
                  <c:v>12.2</c:v>
                </c:pt>
                <c:pt idx="22">
                  <c:v>12.2</c:v>
                </c:pt>
                <c:pt idx="23">
                  <c:v>12.2</c:v>
                </c:pt>
                <c:pt idx="24">
                  <c:v>7.2</c:v>
                </c:pt>
                <c:pt idx="25">
                  <c:v>6.6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</c:ser>
        <c:ser>
          <c:idx val="6"/>
          <c:order val="6"/>
          <c:tx>
            <c:strRef>
              <c:f>'[IHS Energy Global Liquefaction Buildup Graphing Tool - 8 February(1).xlsm]Global Liquefaction Forecast'!$J$448</c:f>
              <c:strCache>
                <c:ptCount val="1"/>
                <c:pt idx="0">
                  <c:v>Equatorial Guinea</c:v>
                </c:pt>
              </c:strCache>
            </c:strRef>
          </c:tx>
          <c:spPr>
            <a:solidFill>
              <a:srgbClr val="4B254C"/>
            </a:solidFill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48:$AZ$448</c:f>
              <c:numCache>
                <c:formatCode>_(* #,##0.0_);_(* \(#,##0.0\);_(* ""??_);_(@_)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2.25</c:v>
                </c:pt>
                <c:pt idx="18">
                  <c:v>3.7</c:v>
                </c:pt>
                <c:pt idx="19">
                  <c:v>3.7</c:v>
                </c:pt>
                <c:pt idx="20">
                  <c:v>3.7</c:v>
                </c:pt>
                <c:pt idx="21">
                  <c:v>3.7</c:v>
                </c:pt>
                <c:pt idx="22">
                  <c:v>3.7</c:v>
                </c:pt>
                <c:pt idx="23">
                  <c:v>3.7</c:v>
                </c:pt>
                <c:pt idx="24">
                  <c:v>3.7</c:v>
                </c:pt>
                <c:pt idx="25">
                  <c:v>3.7</c:v>
                </c:pt>
                <c:pt idx="26">
                  <c:v>3.7</c:v>
                </c:pt>
                <c:pt idx="27">
                  <c:v>3.7</c:v>
                </c:pt>
                <c:pt idx="28">
                  <c:v>3.7</c:v>
                </c:pt>
                <c:pt idx="29">
                  <c:v>3.7</c:v>
                </c:pt>
                <c:pt idx="30">
                  <c:v>3.7</c:v>
                </c:pt>
                <c:pt idx="31">
                  <c:v>3.7</c:v>
                </c:pt>
                <c:pt idx="32">
                  <c:v>3.7</c:v>
                </c:pt>
                <c:pt idx="33">
                  <c:v>3.7</c:v>
                </c:pt>
                <c:pt idx="34">
                  <c:v>3.7</c:v>
                </c:pt>
                <c:pt idx="35">
                  <c:v>3.7</c:v>
                </c:pt>
                <c:pt idx="36">
                  <c:v>3.7</c:v>
                </c:pt>
                <c:pt idx="37">
                  <c:v>3.7</c:v>
                </c:pt>
                <c:pt idx="38">
                  <c:v>3.7</c:v>
                </c:pt>
                <c:pt idx="39">
                  <c:v>3.7</c:v>
                </c:pt>
                <c:pt idx="40">
                  <c:v>3.7</c:v>
                </c:pt>
              </c:numCache>
            </c:numRef>
          </c:val>
        </c:ser>
        <c:ser>
          <c:idx val="7"/>
          <c:order val="7"/>
          <c:tx>
            <c:strRef>
              <c:f>'[IHS Energy Global Liquefaction Buildup Graphing Tool - 8 February(1).xlsm]Global Liquefaction Forecast'!$J$449</c:f>
              <c:strCache>
                <c:ptCount val="1"/>
                <c:pt idx="0">
                  <c:v>Indonesia</c:v>
                </c:pt>
              </c:strCache>
            </c:strRef>
          </c:tx>
          <c:spPr>
            <a:solidFill>
              <a:srgbClr val="F7BFAD"/>
            </a:solidFill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49:$AZ$449</c:f>
              <c:numCache>
                <c:formatCode>_(* #,##0.0_);_(* \(#,##0.0\);_(* ""??_);_(@_)</c:formatCode>
                <c:ptCount val="41"/>
                <c:pt idx="0">
                  <c:v>23.5</c:v>
                </c:pt>
                <c:pt idx="1">
                  <c:v>23.5</c:v>
                </c:pt>
                <c:pt idx="2">
                  <c:v>23.5</c:v>
                </c:pt>
                <c:pt idx="3">
                  <c:v>23.5</c:v>
                </c:pt>
                <c:pt idx="4">
                  <c:v>24.3552</c:v>
                </c:pt>
                <c:pt idx="5">
                  <c:v>29.05</c:v>
                </c:pt>
                <c:pt idx="6">
                  <c:v>29.05</c:v>
                </c:pt>
                <c:pt idx="7">
                  <c:v>29.05</c:v>
                </c:pt>
                <c:pt idx="8">
                  <c:v>31.002800000000001</c:v>
                </c:pt>
                <c:pt idx="9">
                  <c:v>32.25</c:v>
                </c:pt>
                <c:pt idx="10">
                  <c:v>32.119999999999997</c:v>
                </c:pt>
                <c:pt idx="11">
                  <c:v>31.45</c:v>
                </c:pt>
                <c:pt idx="12">
                  <c:v>31.45</c:v>
                </c:pt>
                <c:pt idx="13">
                  <c:v>31.45</c:v>
                </c:pt>
                <c:pt idx="14">
                  <c:v>31.45</c:v>
                </c:pt>
                <c:pt idx="15">
                  <c:v>31.45</c:v>
                </c:pt>
                <c:pt idx="16">
                  <c:v>31.45</c:v>
                </c:pt>
                <c:pt idx="17">
                  <c:v>31.45</c:v>
                </c:pt>
                <c:pt idx="18">
                  <c:v>31.45</c:v>
                </c:pt>
                <c:pt idx="19">
                  <c:v>33.880000000000003</c:v>
                </c:pt>
                <c:pt idx="20">
                  <c:v>31.35</c:v>
                </c:pt>
                <c:pt idx="21">
                  <c:v>31.35</c:v>
                </c:pt>
                <c:pt idx="22">
                  <c:v>31.35</c:v>
                </c:pt>
                <c:pt idx="23">
                  <c:v>28.650000000000009</c:v>
                </c:pt>
                <c:pt idx="24">
                  <c:v>27.76</c:v>
                </c:pt>
                <c:pt idx="25">
                  <c:v>24.670000000000009</c:v>
                </c:pt>
                <c:pt idx="26">
                  <c:v>26.670000000000009</c:v>
                </c:pt>
                <c:pt idx="27">
                  <c:v>27</c:v>
                </c:pt>
                <c:pt idx="28">
                  <c:v>27</c:v>
                </c:pt>
                <c:pt idx="29">
                  <c:v>27</c:v>
                </c:pt>
                <c:pt idx="30">
                  <c:v>27</c:v>
                </c:pt>
                <c:pt idx="31">
                  <c:v>27</c:v>
                </c:pt>
                <c:pt idx="32">
                  <c:v>27</c:v>
                </c:pt>
                <c:pt idx="33">
                  <c:v>27</c:v>
                </c:pt>
                <c:pt idx="34">
                  <c:v>27</c:v>
                </c:pt>
                <c:pt idx="35">
                  <c:v>27</c:v>
                </c:pt>
                <c:pt idx="36">
                  <c:v>26.830000000000009</c:v>
                </c:pt>
                <c:pt idx="37">
                  <c:v>26.5</c:v>
                </c:pt>
                <c:pt idx="38">
                  <c:v>27.7666</c:v>
                </c:pt>
                <c:pt idx="39">
                  <c:v>30.3</c:v>
                </c:pt>
                <c:pt idx="40">
                  <c:v>30.3</c:v>
                </c:pt>
              </c:numCache>
            </c:numRef>
          </c:val>
        </c:ser>
        <c:ser>
          <c:idx val="8"/>
          <c:order val="8"/>
          <c:tx>
            <c:strRef>
              <c:f>'[IHS Energy Global Liquefaction Buildup Graphing Tool - 8 February(1).xlsm]Global Liquefaction Forecast'!$J$450</c:f>
              <c:strCache>
                <c:ptCount val="1"/>
                <c:pt idx="0">
                  <c:v>Israel</c:v>
                </c:pt>
              </c:strCache>
            </c:strRef>
          </c:tx>
          <c:spPr>
            <a:solidFill>
              <a:srgbClr val="C84623"/>
            </a:solidFill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50:$AZ$450</c:f>
              <c:numCache>
                <c:formatCode>_(* #,##0.0_);_(* \(#,##0.0\);_(* ""??_);_(@_)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</c:ser>
        <c:ser>
          <c:idx val="9"/>
          <c:order val="9"/>
          <c:tx>
            <c:strRef>
              <c:f>'[IHS Energy Global Liquefaction Buildup Graphing Tool - 8 February(1).xlsm]Global Liquefaction Forecast'!$J$451</c:f>
              <c:strCache>
                <c:ptCount val="1"/>
                <c:pt idx="0">
                  <c:v>Libya</c:v>
                </c:pt>
              </c:strCache>
            </c:strRef>
          </c:tx>
          <c:spPr>
            <a:solidFill>
              <a:srgbClr val="A2CAEC"/>
            </a:solidFill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51:$AZ$451</c:f>
              <c:numCache>
                <c:formatCode>_(* #,##0.0_);_(* \(#,##0.0\);_(* ""??_);_(@_)</c:formatCode>
                <c:ptCount val="41"/>
                <c:pt idx="0">
                  <c:v>3.2</c:v>
                </c:pt>
                <c:pt idx="1">
                  <c:v>3.2</c:v>
                </c:pt>
                <c:pt idx="2">
                  <c:v>3.2</c:v>
                </c:pt>
                <c:pt idx="3">
                  <c:v>3.2</c:v>
                </c:pt>
                <c:pt idx="4">
                  <c:v>3.2</c:v>
                </c:pt>
                <c:pt idx="5">
                  <c:v>3.2</c:v>
                </c:pt>
                <c:pt idx="6">
                  <c:v>3.2</c:v>
                </c:pt>
                <c:pt idx="7">
                  <c:v>3.2</c:v>
                </c:pt>
                <c:pt idx="8">
                  <c:v>3.2</c:v>
                </c:pt>
                <c:pt idx="9">
                  <c:v>3.2</c:v>
                </c:pt>
                <c:pt idx="10">
                  <c:v>3.2</c:v>
                </c:pt>
                <c:pt idx="11">
                  <c:v>3.2</c:v>
                </c:pt>
                <c:pt idx="12">
                  <c:v>3.2</c:v>
                </c:pt>
                <c:pt idx="13">
                  <c:v>3.2</c:v>
                </c:pt>
                <c:pt idx="14">
                  <c:v>3.2</c:v>
                </c:pt>
                <c:pt idx="15">
                  <c:v>3.2</c:v>
                </c:pt>
                <c:pt idx="16">
                  <c:v>3.2</c:v>
                </c:pt>
                <c:pt idx="17">
                  <c:v>3.2</c:v>
                </c:pt>
                <c:pt idx="18">
                  <c:v>3.2</c:v>
                </c:pt>
                <c:pt idx="19">
                  <c:v>3.2</c:v>
                </c:pt>
                <c:pt idx="20">
                  <c:v>3.2</c:v>
                </c:pt>
                <c:pt idx="21">
                  <c:v>0.52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</c:ser>
        <c:ser>
          <c:idx val="10"/>
          <c:order val="10"/>
          <c:tx>
            <c:strRef>
              <c:f>'[IHS Energy Global Liquefaction Buildup Graphing Tool - 8 February(1).xlsm]Global Liquefaction Forecast'!$J$452</c:f>
              <c:strCache>
                <c:ptCount val="1"/>
                <c:pt idx="0">
                  <c:v>Malaysia</c:v>
                </c:pt>
              </c:strCache>
            </c:strRef>
          </c:tx>
          <c:spPr>
            <a:solidFill>
              <a:srgbClr val="265B3F"/>
            </a:solidFill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52:$AZ$452</c:f>
              <c:numCache>
                <c:formatCode>_(* #,##0.0_);_(* \(#,##0.0\);_(* ""??_);_(@_)</c:formatCode>
                <c:ptCount val="41"/>
                <c:pt idx="0">
                  <c:v>7.6</c:v>
                </c:pt>
                <c:pt idx="1">
                  <c:v>7.6</c:v>
                </c:pt>
                <c:pt idx="2">
                  <c:v>7.6</c:v>
                </c:pt>
                <c:pt idx="3">
                  <c:v>7.6</c:v>
                </c:pt>
                <c:pt idx="4">
                  <c:v>7.6</c:v>
                </c:pt>
                <c:pt idx="5">
                  <c:v>12.149900000000001</c:v>
                </c:pt>
                <c:pt idx="6">
                  <c:v>15.4</c:v>
                </c:pt>
                <c:pt idx="7">
                  <c:v>15.4</c:v>
                </c:pt>
                <c:pt idx="8">
                  <c:v>15.4</c:v>
                </c:pt>
                <c:pt idx="9">
                  <c:v>15.4</c:v>
                </c:pt>
                <c:pt idx="10">
                  <c:v>15.4</c:v>
                </c:pt>
                <c:pt idx="11">
                  <c:v>15.4</c:v>
                </c:pt>
                <c:pt idx="12">
                  <c:v>15.4</c:v>
                </c:pt>
                <c:pt idx="13">
                  <c:v>20.5</c:v>
                </c:pt>
                <c:pt idx="14">
                  <c:v>22.2</c:v>
                </c:pt>
                <c:pt idx="15">
                  <c:v>22.7</c:v>
                </c:pt>
                <c:pt idx="16">
                  <c:v>22.7</c:v>
                </c:pt>
                <c:pt idx="17">
                  <c:v>22.7</c:v>
                </c:pt>
                <c:pt idx="18">
                  <c:v>22.7</c:v>
                </c:pt>
                <c:pt idx="19">
                  <c:v>22.7</c:v>
                </c:pt>
                <c:pt idx="20">
                  <c:v>23.518599999999999</c:v>
                </c:pt>
                <c:pt idx="21">
                  <c:v>23.9</c:v>
                </c:pt>
                <c:pt idx="22">
                  <c:v>23.9</c:v>
                </c:pt>
                <c:pt idx="23">
                  <c:v>23.9</c:v>
                </c:pt>
                <c:pt idx="24">
                  <c:v>23.9</c:v>
                </c:pt>
                <c:pt idx="25">
                  <c:v>23.9</c:v>
                </c:pt>
                <c:pt idx="26">
                  <c:v>26.399899999999992</c:v>
                </c:pt>
                <c:pt idx="27">
                  <c:v>28.7</c:v>
                </c:pt>
                <c:pt idx="28">
                  <c:v>29.58</c:v>
                </c:pt>
                <c:pt idx="29">
                  <c:v>30.2</c:v>
                </c:pt>
                <c:pt idx="30">
                  <c:v>30.2</c:v>
                </c:pt>
                <c:pt idx="31">
                  <c:v>30.2</c:v>
                </c:pt>
                <c:pt idx="32">
                  <c:v>30.2</c:v>
                </c:pt>
                <c:pt idx="33">
                  <c:v>30.2</c:v>
                </c:pt>
                <c:pt idx="34">
                  <c:v>30.2</c:v>
                </c:pt>
                <c:pt idx="35">
                  <c:v>30.2</c:v>
                </c:pt>
                <c:pt idx="36">
                  <c:v>30.2</c:v>
                </c:pt>
                <c:pt idx="37">
                  <c:v>30.2</c:v>
                </c:pt>
                <c:pt idx="38">
                  <c:v>30.2</c:v>
                </c:pt>
                <c:pt idx="39">
                  <c:v>30.2</c:v>
                </c:pt>
                <c:pt idx="40">
                  <c:v>30.2</c:v>
                </c:pt>
              </c:numCache>
            </c:numRef>
          </c:val>
        </c:ser>
        <c:ser>
          <c:idx val="11"/>
          <c:order val="11"/>
          <c:tx>
            <c:strRef>
              <c:f>'[IHS Energy Global Liquefaction Buildup Graphing Tool - 8 February(1).xlsm]Global Liquefaction Forecast'!$J$453</c:f>
              <c:strCache>
                <c:ptCount val="1"/>
                <c:pt idx="0">
                  <c:v>Mozambique</c:v>
                </c:pt>
              </c:strCache>
            </c:strRef>
          </c:tx>
          <c:spPr>
            <a:solidFill>
              <a:srgbClr val="FFD200"/>
            </a:solidFill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53:$AZ$453</c:f>
              <c:numCache>
                <c:formatCode>_(* #,##0.0_);_(* \(#,##0.0\);_(* ""??_);_(@_)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2.5</c:v>
                </c:pt>
                <c:pt idx="33">
                  <c:v>9</c:v>
                </c:pt>
                <c:pt idx="34">
                  <c:v>15</c:v>
                </c:pt>
                <c:pt idx="35">
                  <c:v>15</c:v>
                </c:pt>
                <c:pt idx="36">
                  <c:v>18</c:v>
                </c:pt>
                <c:pt idx="37">
                  <c:v>21</c:v>
                </c:pt>
                <c:pt idx="38">
                  <c:v>24</c:v>
                </c:pt>
                <c:pt idx="39">
                  <c:v>27</c:v>
                </c:pt>
                <c:pt idx="40">
                  <c:v>33</c:v>
                </c:pt>
              </c:numCache>
            </c:numRef>
          </c:val>
        </c:ser>
        <c:ser>
          <c:idx val="12"/>
          <c:order val="12"/>
          <c:tx>
            <c:strRef>
              <c:f>'[IHS Energy Global Liquefaction Buildup Graphing Tool - 8 February(1).xlsm]Global Liquefaction Forecast'!$J$454</c:f>
              <c:strCache>
                <c:ptCount val="1"/>
                <c:pt idx="0">
                  <c:v>Nigeria</c:v>
                </c:pt>
              </c:strCache>
            </c:strRef>
          </c:tx>
          <c:spPr>
            <a:solidFill>
              <a:srgbClr val="707C8A"/>
            </a:solidFill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54:$AZ$454</c:f>
              <c:numCache>
                <c:formatCode>_(* #,##0.0_);_(* \(#,##0.0\);_(* ""??_);_(@_)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.74</c:v>
                </c:pt>
                <c:pt idx="10">
                  <c:v>5.6499999999999986</c:v>
                </c:pt>
                <c:pt idx="11">
                  <c:v>5.9</c:v>
                </c:pt>
                <c:pt idx="12">
                  <c:v>6.39</c:v>
                </c:pt>
                <c:pt idx="13">
                  <c:v>8.9</c:v>
                </c:pt>
                <c:pt idx="14">
                  <c:v>9.26</c:v>
                </c:pt>
                <c:pt idx="15">
                  <c:v>9.6</c:v>
                </c:pt>
                <c:pt idx="16">
                  <c:v>17.170000000000009</c:v>
                </c:pt>
                <c:pt idx="17">
                  <c:v>17.79999999999999</c:v>
                </c:pt>
                <c:pt idx="18">
                  <c:v>21.9</c:v>
                </c:pt>
                <c:pt idx="19">
                  <c:v>21.9</c:v>
                </c:pt>
                <c:pt idx="20">
                  <c:v>21.9</c:v>
                </c:pt>
                <c:pt idx="21">
                  <c:v>21.9</c:v>
                </c:pt>
                <c:pt idx="22">
                  <c:v>21.9</c:v>
                </c:pt>
                <c:pt idx="23">
                  <c:v>21.9</c:v>
                </c:pt>
                <c:pt idx="24">
                  <c:v>21.9</c:v>
                </c:pt>
                <c:pt idx="25">
                  <c:v>21.9</c:v>
                </c:pt>
                <c:pt idx="26">
                  <c:v>21.9</c:v>
                </c:pt>
                <c:pt idx="27">
                  <c:v>21.9</c:v>
                </c:pt>
                <c:pt idx="28">
                  <c:v>21.9</c:v>
                </c:pt>
                <c:pt idx="29">
                  <c:v>21.9</c:v>
                </c:pt>
                <c:pt idx="30">
                  <c:v>21.9</c:v>
                </c:pt>
                <c:pt idx="31">
                  <c:v>21.9</c:v>
                </c:pt>
                <c:pt idx="32">
                  <c:v>21.9</c:v>
                </c:pt>
                <c:pt idx="33">
                  <c:v>21.9</c:v>
                </c:pt>
                <c:pt idx="34">
                  <c:v>21.9</c:v>
                </c:pt>
                <c:pt idx="35">
                  <c:v>21.9</c:v>
                </c:pt>
                <c:pt idx="36">
                  <c:v>21.9</c:v>
                </c:pt>
                <c:pt idx="37">
                  <c:v>21.9</c:v>
                </c:pt>
                <c:pt idx="38">
                  <c:v>21.9</c:v>
                </c:pt>
                <c:pt idx="39">
                  <c:v>21.9</c:v>
                </c:pt>
                <c:pt idx="40">
                  <c:v>21.9</c:v>
                </c:pt>
              </c:numCache>
            </c:numRef>
          </c:val>
        </c:ser>
        <c:ser>
          <c:idx val="13"/>
          <c:order val="13"/>
          <c:tx>
            <c:strRef>
              <c:f>'[IHS Energy Global Liquefaction Buildup Graphing Tool - 8 February(1).xlsm]Global Liquefaction Forecast'!$J$455</c:f>
              <c:strCache>
                <c:ptCount val="1"/>
                <c:pt idx="0">
                  <c:v>Norway</c:v>
                </c:pt>
              </c:strCache>
            </c:strRef>
          </c:tx>
          <c:spPr>
            <a:solidFill>
              <a:srgbClr val="D8DCDB"/>
            </a:solidFill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55:$AZ$455</c:f>
              <c:numCache>
                <c:formatCode>_(* #,##0.0_);_(* \(#,##0.0\);_(* ""??_);_(@_)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.69</c:v>
                </c:pt>
                <c:pt idx="18">
                  <c:v>3.36</c:v>
                </c:pt>
                <c:pt idx="19">
                  <c:v>4.2</c:v>
                </c:pt>
                <c:pt idx="20">
                  <c:v>4.33</c:v>
                </c:pt>
                <c:pt idx="21">
                  <c:v>4.5</c:v>
                </c:pt>
                <c:pt idx="22">
                  <c:v>4.5</c:v>
                </c:pt>
                <c:pt idx="23">
                  <c:v>4.5</c:v>
                </c:pt>
                <c:pt idx="24">
                  <c:v>4.5</c:v>
                </c:pt>
                <c:pt idx="25">
                  <c:v>4.5</c:v>
                </c:pt>
                <c:pt idx="26">
                  <c:v>4.5</c:v>
                </c:pt>
                <c:pt idx="27">
                  <c:v>4.5</c:v>
                </c:pt>
                <c:pt idx="28">
                  <c:v>4.5</c:v>
                </c:pt>
                <c:pt idx="29">
                  <c:v>4.5</c:v>
                </c:pt>
                <c:pt idx="30">
                  <c:v>4.5</c:v>
                </c:pt>
                <c:pt idx="31">
                  <c:v>4.5</c:v>
                </c:pt>
                <c:pt idx="32">
                  <c:v>4.5</c:v>
                </c:pt>
                <c:pt idx="33">
                  <c:v>4.5</c:v>
                </c:pt>
                <c:pt idx="34">
                  <c:v>4.5</c:v>
                </c:pt>
                <c:pt idx="35">
                  <c:v>4.5</c:v>
                </c:pt>
                <c:pt idx="36">
                  <c:v>4.5</c:v>
                </c:pt>
                <c:pt idx="37">
                  <c:v>4.5</c:v>
                </c:pt>
                <c:pt idx="38">
                  <c:v>4.5</c:v>
                </c:pt>
                <c:pt idx="39">
                  <c:v>4.5</c:v>
                </c:pt>
                <c:pt idx="40">
                  <c:v>4.5</c:v>
                </c:pt>
              </c:numCache>
            </c:numRef>
          </c:val>
        </c:ser>
        <c:ser>
          <c:idx val="14"/>
          <c:order val="14"/>
          <c:tx>
            <c:strRef>
              <c:f>'[IHS Energy Global Liquefaction Buildup Graphing Tool - 8 February(1).xlsm]Global Liquefaction Forecast'!$J$456</c:f>
              <c:strCache>
                <c:ptCount val="1"/>
                <c:pt idx="0">
                  <c:v>Oman</c:v>
                </c:pt>
              </c:strCache>
            </c:strRef>
          </c:tx>
          <c:spPr>
            <a:solidFill>
              <a:srgbClr val="0097D1"/>
            </a:solidFill>
            <a:ln>
              <a:noFill/>
            </a:ln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56:$AZ$456</c:f>
              <c:numCache>
                <c:formatCode>_(* #,##0.0_);_(* \(#,##0.0\);_(* ""??_);_(@_)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6.06</c:v>
                </c:pt>
                <c:pt idx="11">
                  <c:v>6.6</c:v>
                </c:pt>
                <c:pt idx="12">
                  <c:v>6.6</c:v>
                </c:pt>
                <c:pt idx="13">
                  <c:v>6.6</c:v>
                </c:pt>
                <c:pt idx="14">
                  <c:v>6.6</c:v>
                </c:pt>
                <c:pt idx="15">
                  <c:v>6.6</c:v>
                </c:pt>
                <c:pt idx="16">
                  <c:v>10.16</c:v>
                </c:pt>
                <c:pt idx="17">
                  <c:v>10.5</c:v>
                </c:pt>
                <c:pt idx="18">
                  <c:v>10.8</c:v>
                </c:pt>
                <c:pt idx="19">
                  <c:v>10.8</c:v>
                </c:pt>
                <c:pt idx="20">
                  <c:v>10.8</c:v>
                </c:pt>
                <c:pt idx="21">
                  <c:v>10.8</c:v>
                </c:pt>
                <c:pt idx="22">
                  <c:v>10.8</c:v>
                </c:pt>
                <c:pt idx="23">
                  <c:v>10.8</c:v>
                </c:pt>
                <c:pt idx="24">
                  <c:v>10.8</c:v>
                </c:pt>
                <c:pt idx="25">
                  <c:v>10.8</c:v>
                </c:pt>
                <c:pt idx="26">
                  <c:v>10.8</c:v>
                </c:pt>
                <c:pt idx="27">
                  <c:v>10.8</c:v>
                </c:pt>
                <c:pt idx="28">
                  <c:v>10.8</c:v>
                </c:pt>
                <c:pt idx="29">
                  <c:v>10.8</c:v>
                </c:pt>
                <c:pt idx="30">
                  <c:v>10.8</c:v>
                </c:pt>
                <c:pt idx="31">
                  <c:v>10.8</c:v>
                </c:pt>
                <c:pt idx="32">
                  <c:v>10.8</c:v>
                </c:pt>
                <c:pt idx="33">
                  <c:v>10.8</c:v>
                </c:pt>
                <c:pt idx="34">
                  <c:v>10.8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</c:ser>
        <c:ser>
          <c:idx val="15"/>
          <c:order val="15"/>
          <c:tx>
            <c:strRef>
              <c:f>'[IHS Energy Global Liquefaction Buildup Graphing Tool - 8 February(1).xlsm]Global Liquefaction Forecast'!$J$457</c:f>
              <c:strCache>
                <c:ptCount val="1"/>
                <c:pt idx="0">
                  <c:v>Papua New Guinea</c:v>
                </c:pt>
              </c:strCache>
            </c:strRef>
          </c:tx>
          <c:spPr>
            <a:solidFill>
              <a:srgbClr val="A1ABB2"/>
            </a:solidFill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57:$AZ$457</c:f>
              <c:numCache>
                <c:formatCode>_(* #,##0.0_);_(* \(#,##0.0\);_(* ""??_);_(@_)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4.33</c:v>
                </c:pt>
                <c:pt idx="25">
                  <c:v>6.9</c:v>
                </c:pt>
                <c:pt idx="26">
                  <c:v>6.9</c:v>
                </c:pt>
                <c:pt idx="27">
                  <c:v>6.9</c:v>
                </c:pt>
                <c:pt idx="28">
                  <c:v>6.9</c:v>
                </c:pt>
                <c:pt idx="29">
                  <c:v>6.9</c:v>
                </c:pt>
                <c:pt idx="30">
                  <c:v>6.9</c:v>
                </c:pt>
                <c:pt idx="31">
                  <c:v>6.9</c:v>
                </c:pt>
                <c:pt idx="32">
                  <c:v>6.9</c:v>
                </c:pt>
                <c:pt idx="33">
                  <c:v>7.4700000000000006</c:v>
                </c:pt>
                <c:pt idx="34">
                  <c:v>10.35</c:v>
                </c:pt>
                <c:pt idx="35">
                  <c:v>10.35</c:v>
                </c:pt>
                <c:pt idx="36">
                  <c:v>10.35</c:v>
                </c:pt>
                <c:pt idx="37">
                  <c:v>10.35</c:v>
                </c:pt>
                <c:pt idx="38">
                  <c:v>10.35</c:v>
                </c:pt>
                <c:pt idx="39">
                  <c:v>10.35</c:v>
                </c:pt>
                <c:pt idx="40">
                  <c:v>10.35</c:v>
                </c:pt>
              </c:numCache>
            </c:numRef>
          </c:val>
        </c:ser>
        <c:ser>
          <c:idx val="16"/>
          <c:order val="16"/>
          <c:tx>
            <c:strRef>
              <c:f>'[IHS Energy Global Liquefaction Buildup Graphing Tool - 8 February(1).xlsm]Global Liquefaction Forecast'!$J$458</c:f>
              <c:strCache>
                <c:ptCount val="1"/>
                <c:pt idx="0">
                  <c:v>Peru</c:v>
                </c:pt>
              </c:strCache>
            </c:strRef>
          </c:tx>
          <c:spPr>
            <a:solidFill>
              <a:srgbClr val="103C68"/>
            </a:solidFill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58:$AZ$458</c:f>
              <c:numCache>
                <c:formatCode>_(* #,##0.0_);_(* \(#,##0.0\);_(* ""??_);_(@_)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2.4300000000000002</c:v>
                </c:pt>
                <c:pt idx="21">
                  <c:v>4.45</c:v>
                </c:pt>
                <c:pt idx="22">
                  <c:v>4.45</c:v>
                </c:pt>
                <c:pt idx="23">
                  <c:v>4.45</c:v>
                </c:pt>
                <c:pt idx="24">
                  <c:v>4.45</c:v>
                </c:pt>
                <c:pt idx="25">
                  <c:v>4.45</c:v>
                </c:pt>
                <c:pt idx="26">
                  <c:v>4.45</c:v>
                </c:pt>
                <c:pt idx="27">
                  <c:v>4.45</c:v>
                </c:pt>
                <c:pt idx="28">
                  <c:v>4.45</c:v>
                </c:pt>
                <c:pt idx="29">
                  <c:v>4.45</c:v>
                </c:pt>
                <c:pt idx="30">
                  <c:v>4.45</c:v>
                </c:pt>
                <c:pt idx="31">
                  <c:v>4.45</c:v>
                </c:pt>
                <c:pt idx="32">
                  <c:v>4.45</c:v>
                </c:pt>
                <c:pt idx="33">
                  <c:v>4.45</c:v>
                </c:pt>
                <c:pt idx="34">
                  <c:v>4.45</c:v>
                </c:pt>
                <c:pt idx="35">
                  <c:v>4.45</c:v>
                </c:pt>
                <c:pt idx="36">
                  <c:v>4.45</c:v>
                </c:pt>
                <c:pt idx="37">
                  <c:v>4.45</c:v>
                </c:pt>
                <c:pt idx="38">
                  <c:v>4.45</c:v>
                </c:pt>
                <c:pt idx="39">
                  <c:v>4.45</c:v>
                </c:pt>
                <c:pt idx="40">
                  <c:v>4.45</c:v>
                </c:pt>
              </c:numCache>
            </c:numRef>
          </c:val>
        </c:ser>
        <c:ser>
          <c:idx val="17"/>
          <c:order val="17"/>
          <c:tx>
            <c:strRef>
              <c:f>'[IHS Energy Global Liquefaction Buildup Graphing Tool - 8 February(1).xlsm]Global Liquefaction Forecast'!$J$459</c:f>
              <c:strCache>
                <c:ptCount val="1"/>
                <c:pt idx="0">
                  <c:v>Qatar</c:v>
                </c:pt>
              </c:strCache>
            </c:strRef>
          </c:tx>
          <c:spPr>
            <a:solidFill>
              <a:schemeClr val="accent1"/>
            </a:solidFill>
            <a:ln w="25400">
              <a:noFill/>
            </a:ln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59:$AZ$459</c:f>
              <c:numCache>
                <c:formatCode>_(* #,##0.0_);_(* \(#,##0.0\);_(* ""??_);_(@_)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4</c:v>
                </c:pt>
                <c:pt idx="8">
                  <c:v>5.01</c:v>
                </c:pt>
                <c:pt idx="9">
                  <c:v>8.48</c:v>
                </c:pt>
                <c:pt idx="10">
                  <c:v>12.06</c:v>
                </c:pt>
                <c:pt idx="11">
                  <c:v>12.6</c:v>
                </c:pt>
                <c:pt idx="12">
                  <c:v>12.6</c:v>
                </c:pt>
                <c:pt idx="13">
                  <c:v>13.8</c:v>
                </c:pt>
                <c:pt idx="14">
                  <c:v>18.7</c:v>
                </c:pt>
                <c:pt idx="15">
                  <c:v>21.02</c:v>
                </c:pt>
                <c:pt idx="16">
                  <c:v>25.5</c:v>
                </c:pt>
                <c:pt idx="17">
                  <c:v>29.44</c:v>
                </c:pt>
                <c:pt idx="18">
                  <c:v>30.2</c:v>
                </c:pt>
                <c:pt idx="19">
                  <c:v>41.420000000000009</c:v>
                </c:pt>
                <c:pt idx="20">
                  <c:v>61.230000000000011</c:v>
                </c:pt>
                <c:pt idx="21">
                  <c:v>76.16</c:v>
                </c:pt>
                <c:pt idx="22">
                  <c:v>77</c:v>
                </c:pt>
                <c:pt idx="23">
                  <c:v>77</c:v>
                </c:pt>
                <c:pt idx="24">
                  <c:v>77</c:v>
                </c:pt>
                <c:pt idx="25">
                  <c:v>77</c:v>
                </c:pt>
                <c:pt idx="26">
                  <c:v>77</c:v>
                </c:pt>
                <c:pt idx="27">
                  <c:v>77</c:v>
                </c:pt>
                <c:pt idx="28">
                  <c:v>77</c:v>
                </c:pt>
                <c:pt idx="29">
                  <c:v>77</c:v>
                </c:pt>
                <c:pt idx="30">
                  <c:v>77</c:v>
                </c:pt>
                <c:pt idx="31">
                  <c:v>77</c:v>
                </c:pt>
                <c:pt idx="32">
                  <c:v>77</c:v>
                </c:pt>
                <c:pt idx="33">
                  <c:v>77</c:v>
                </c:pt>
                <c:pt idx="34">
                  <c:v>77</c:v>
                </c:pt>
                <c:pt idx="35">
                  <c:v>77</c:v>
                </c:pt>
                <c:pt idx="36">
                  <c:v>77</c:v>
                </c:pt>
                <c:pt idx="37">
                  <c:v>77</c:v>
                </c:pt>
                <c:pt idx="38">
                  <c:v>77</c:v>
                </c:pt>
                <c:pt idx="39">
                  <c:v>77</c:v>
                </c:pt>
                <c:pt idx="40">
                  <c:v>77</c:v>
                </c:pt>
              </c:numCache>
            </c:numRef>
          </c:val>
        </c:ser>
        <c:ser>
          <c:idx val="18"/>
          <c:order val="18"/>
          <c:tx>
            <c:strRef>
              <c:f>'[IHS Energy Global Liquefaction Buildup Graphing Tool - 8 February(1).xlsm]Global Liquefaction Forecast'!$J$460</c:f>
              <c:strCache>
                <c:ptCount val="1"/>
                <c:pt idx="0">
                  <c:v>Russia</c:v>
                </c:pt>
              </c:strCache>
            </c:strRef>
          </c:tx>
          <c:spPr>
            <a:solidFill>
              <a:schemeClr val="accent2"/>
            </a:solidFill>
            <a:ln w="25400">
              <a:noFill/>
            </a:ln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60:$AZ$460</c:f>
              <c:numCache>
                <c:formatCode>_(* #,##0.0_);_(* \(#,##0.0\);_(* ""??_);_(@_)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6.5620999999999992</c:v>
                </c:pt>
                <c:pt idx="20">
                  <c:v>9.6</c:v>
                </c:pt>
                <c:pt idx="21">
                  <c:v>9.6</c:v>
                </c:pt>
                <c:pt idx="22">
                  <c:v>9.6</c:v>
                </c:pt>
                <c:pt idx="23">
                  <c:v>9.6</c:v>
                </c:pt>
                <c:pt idx="24">
                  <c:v>9.6</c:v>
                </c:pt>
                <c:pt idx="25">
                  <c:v>9.6</c:v>
                </c:pt>
                <c:pt idx="26">
                  <c:v>9.6</c:v>
                </c:pt>
                <c:pt idx="27">
                  <c:v>9.6</c:v>
                </c:pt>
                <c:pt idx="28">
                  <c:v>11.433299999999999</c:v>
                </c:pt>
                <c:pt idx="29">
                  <c:v>15.1</c:v>
                </c:pt>
                <c:pt idx="30">
                  <c:v>16.933299999999999</c:v>
                </c:pt>
                <c:pt idx="31">
                  <c:v>20.6</c:v>
                </c:pt>
                <c:pt idx="32">
                  <c:v>22.433299999999999</c:v>
                </c:pt>
                <c:pt idx="33">
                  <c:v>26.1</c:v>
                </c:pt>
                <c:pt idx="34">
                  <c:v>26.1</c:v>
                </c:pt>
                <c:pt idx="35">
                  <c:v>28.899900000000009</c:v>
                </c:pt>
                <c:pt idx="36">
                  <c:v>30.9</c:v>
                </c:pt>
                <c:pt idx="37">
                  <c:v>30.9</c:v>
                </c:pt>
                <c:pt idx="38">
                  <c:v>32.7333</c:v>
                </c:pt>
                <c:pt idx="39">
                  <c:v>36.4</c:v>
                </c:pt>
                <c:pt idx="40">
                  <c:v>36.4</c:v>
                </c:pt>
              </c:numCache>
            </c:numRef>
          </c:val>
        </c:ser>
        <c:ser>
          <c:idx val="19"/>
          <c:order val="19"/>
          <c:tx>
            <c:strRef>
              <c:f>'[IHS Energy Global Liquefaction Buildup Graphing Tool - 8 February(1).xlsm]Global Liquefaction Forecast'!$J$461</c:f>
              <c:strCache>
                <c:ptCount val="1"/>
                <c:pt idx="0">
                  <c:v>Tanzania</c:v>
                </c:pt>
              </c:strCache>
            </c:strRef>
          </c:tx>
          <c:spPr>
            <a:solidFill>
              <a:srgbClr val="6600CC"/>
            </a:solidFill>
            <a:ln w="25400">
              <a:noFill/>
            </a:ln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61:$AZ$461</c:f>
              <c:numCache>
                <c:formatCode>_(* #,##0.0_);_(* \(#,##0.0\);_(* ""??_);_(@_)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2.5099999999999998</c:v>
                </c:pt>
                <c:pt idx="38">
                  <c:v>7.51</c:v>
                </c:pt>
                <c:pt idx="39">
                  <c:v>10</c:v>
                </c:pt>
                <c:pt idx="40">
                  <c:v>10</c:v>
                </c:pt>
              </c:numCache>
            </c:numRef>
          </c:val>
        </c:ser>
        <c:ser>
          <c:idx val="20"/>
          <c:order val="20"/>
          <c:tx>
            <c:strRef>
              <c:f>'[IHS Energy Global Liquefaction Buildup Graphing Tool - 8 February(1).xlsm]Global Liquefaction Forecast'!$J$462</c:f>
              <c:strCache>
                <c:ptCount val="1"/>
                <c:pt idx="0">
                  <c:v>Trinidad</c:v>
                </c:pt>
              </c:strCache>
            </c:strRef>
          </c:tx>
          <c:spPr>
            <a:solidFill>
              <a:srgbClr val="2A39C6"/>
            </a:solidFill>
            <a:ln w="25400">
              <a:noFill/>
            </a:ln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62:$AZ$462</c:f>
              <c:numCache>
                <c:formatCode>_(* #,##0.0_);_(* \(#,##0.0\);_(* ""??_);_(@_)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2.2599999999999998</c:v>
                </c:pt>
                <c:pt idx="10">
                  <c:v>3</c:v>
                </c:pt>
                <c:pt idx="11">
                  <c:v>3</c:v>
                </c:pt>
                <c:pt idx="12">
                  <c:v>4.42</c:v>
                </c:pt>
                <c:pt idx="13">
                  <c:v>8.9600000000000026</c:v>
                </c:pt>
                <c:pt idx="14">
                  <c:v>9.9500000000000028</c:v>
                </c:pt>
                <c:pt idx="15">
                  <c:v>10.1</c:v>
                </c:pt>
                <c:pt idx="16">
                  <c:v>15.3</c:v>
                </c:pt>
                <c:pt idx="17">
                  <c:v>15.3</c:v>
                </c:pt>
                <c:pt idx="18">
                  <c:v>15.3</c:v>
                </c:pt>
                <c:pt idx="19">
                  <c:v>15.3</c:v>
                </c:pt>
                <c:pt idx="20">
                  <c:v>15.3</c:v>
                </c:pt>
                <c:pt idx="21">
                  <c:v>15.3</c:v>
                </c:pt>
                <c:pt idx="22">
                  <c:v>15.3</c:v>
                </c:pt>
                <c:pt idx="23">
                  <c:v>15.3</c:v>
                </c:pt>
                <c:pt idx="24">
                  <c:v>15.3</c:v>
                </c:pt>
                <c:pt idx="25">
                  <c:v>15.3</c:v>
                </c:pt>
                <c:pt idx="26">
                  <c:v>15.3</c:v>
                </c:pt>
                <c:pt idx="27">
                  <c:v>15.3</c:v>
                </c:pt>
                <c:pt idx="28">
                  <c:v>15.3</c:v>
                </c:pt>
                <c:pt idx="29">
                  <c:v>15.3</c:v>
                </c:pt>
                <c:pt idx="30">
                  <c:v>15.3</c:v>
                </c:pt>
                <c:pt idx="31">
                  <c:v>15.3</c:v>
                </c:pt>
                <c:pt idx="32">
                  <c:v>15.3</c:v>
                </c:pt>
                <c:pt idx="33">
                  <c:v>15.3</c:v>
                </c:pt>
                <c:pt idx="34">
                  <c:v>15.3</c:v>
                </c:pt>
                <c:pt idx="35">
                  <c:v>15.3</c:v>
                </c:pt>
                <c:pt idx="36">
                  <c:v>15.3</c:v>
                </c:pt>
                <c:pt idx="37">
                  <c:v>15.3</c:v>
                </c:pt>
                <c:pt idx="38">
                  <c:v>15.3</c:v>
                </c:pt>
                <c:pt idx="39">
                  <c:v>15.3</c:v>
                </c:pt>
                <c:pt idx="40">
                  <c:v>15.3</c:v>
                </c:pt>
              </c:numCache>
            </c:numRef>
          </c:val>
        </c:ser>
        <c:ser>
          <c:idx val="21"/>
          <c:order val="21"/>
          <c:tx>
            <c:strRef>
              <c:f>'[IHS Energy Global Liquefaction Buildup Graphing Tool - 8 February(1).xlsm]Global Liquefaction Forecast'!$J$463</c:f>
              <c:strCache>
                <c:ptCount val="1"/>
                <c:pt idx="0">
                  <c:v>United Arab Emirates</c:v>
                </c:pt>
              </c:strCache>
            </c:strRef>
          </c:tx>
          <c:spPr>
            <a:solidFill>
              <a:srgbClr val="FFC000"/>
            </a:solidFill>
            <a:ln w="25400">
              <a:noFill/>
            </a:ln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63:$AZ$463</c:f>
              <c:numCache>
                <c:formatCode>_(* #,##0.0_);_(* \(#,##0.0\);_(* ""??_);_(@_)</c:formatCode>
                <c:ptCount val="41"/>
                <c:pt idx="0">
                  <c:v>2.6</c:v>
                </c:pt>
                <c:pt idx="1">
                  <c:v>2.6</c:v>
                </c:pt>
                <c:pt idx="2">
                  <c:v>2.6</c:v>
                </c:pt>
                <c:pt idx="3">
                  <c:v>2.6</c:v>
                </c:pt>
                <c:pt idx="4">
                  <c:v>3.76</c:v>
                </c:pt>
                <c:pt idx="5">
                  <c:v>4.9000000000000004</c:v>
                </c:pt>
                <c:pt idx="6">
                  <c:v>4.9000000000000004</c:v>
                </c:pt>
                <c:pt idx="7">
                  <c:v>4.9000000000000004</c:v>
                </c:pt>
                <c:pt idx="8">
                  <c:v>4.9000000000000004</c:v>
                </c:pt>
                <c:pt idx="9">
                  <c:v>4.9000000000000004</c:v>
                </c:pt>
                <c:pt idx="10">
                  <c:v>4.9000000000000004</c:v>
                </c:pt>
                <c:pt idx="11">
                  <c:v>5.8000000000000007</c:v>
                </c:pt>
                <c:pt idx="12">
                  <c:v>5.8000000000000007</c:v>
                </c:pt>
                <c:pt idx="13">
                  <c:v>5.8000000000000007</c:v>
                </c:pt>
                <c:pt idx="14">
                  <c:v>5.8000000000000007</c:v>
                </c:pt>
                <c:pt idx="15">
                  <c:v>5.8000000000000007</c:v>
                </c:pt>
                <c:pt idx="16">
                  <c:v>5.8000000000000007</c:v>
                </c:pt>
                <c:pt idx="17">
                  <c:v>5.8000000000000007</c:v>
                </c:pt>
                <c:pt idx="18">
                  <c:v>5.8000000000000007</c:v>
                </c:pt>
                <c:pt idx="19">
                  <c:v>5.8000000000000007</c:v>
                </c:pt>
                <c:pt idx="20">
                  <c:v>5.8000000000000007</c:v>
                </c:pt>
                <c:pt idx="21">
                  <c:v>5.8000000000000007</c:v>
                </c:pt>
                <c:pt idx="22">
                  <c:v>5.8000000000000007</c:v>
                </c:pt>
                <c:pt idx="23">
                  <c:v>5.8000000000000007</c:v>
                </c:pt>
                <c:pt idx="24">
                  <c:v>5.8000000000000007</c:v>
                </c:pt>
                <c:pt idx="25">
                  <c:v>5.8000000000000007</c:v>
                </c:pt>
                <c:pt idx="26">
                  <c:v>5.8000000000000007</c:v>
                </c:pt>
                <c:pt idx="27">
                  <c:v>5.8000000000000007</c:v>
                </c:pt>
                <c:pt idx="28">
                  <c:v>5.8000000000000007</c:v>
                </c:pt>
                <c:pt idx="29">
                  <c:v>5.8000000000000007</c:v>
                </c:pt>
                <c:pt idx="30">
                  <c:v>5.8000000000000007</c:v>
                </c:pt>
                <c:pt idx="31">
                  <c:v>5.8000000000000007</c:v>
                </c:pt>
                <c:pt idx="32">
                  <c:v>5.8000000000000007</c:v>
                </c:pt>
                <c:pt idx="33">
                  <c:v>5.8000000000000007</c:v>
                </c:pt>
                <c:pt idx="34">
                  <c:v>5.8000000000000007</c:v>
                </c:pt>
                <c:pt idx="35">
                  <c:v>5.8000000000000007</c:v>
                </c:pt>
                <c:pt idx="36">
                  <c:v>5.8000000000000007</c:v>
                </c:pt>
                <c:pt idx="37">
                  <c:v>5.8000000000000007</c:v>
                </c:pt>
                <c:pt idx="38">
                  <c:v>5.8000000000000007</c:v>
                </c:pt>
                <c:pt idx="39">
                  <c:v>5.8000000000000007</c:v>
                </c:pt>
                <c:pt idx="40">
                  <c:v>5.8000000000000007</c:v>
                </c:pt>
              </c:numCache>
            </c:numRef>
          </c:val>
        </c:ser>
        <c:ser>
          <c:idx val="22"/>
          <c:order val="22"/>
          <c:tx>
            <c:strRef>
              <c:f>'[IHS Energy Global Liquefaction Buildup Graphing Tool - 8 February(1).xlsm]Global Liquefaction Forecast'!$J$464</c:f>
              <c:strCache>
                <c:ptCount val="1"/>
                <c:pt idx="0">
                  <c:v>United States</c:v>
                </c:pt>
              </c:strCache>
            </c:strRef>
          </c:tx>
          <c:spPr>
            <a:solidFill>
              <a:srgbClr val="10A8AC"/>
            </a:solidFill>
            <a:ln w="25400">
              <a:noFill/>
            </a:ln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64:$AZ$464</c:f>
              <c:numCache>
                <c:formatCode>_(* #,##0.0_);_(* \(#,##0.0\);_(* ""??_);_(@_)</c:formatCode>
                <c:ptCount val="41"/>
                <c:pt idx="0">
                  <c:v>1.3</c:v>
                </c:pt>
                <c:pt idx="1">
                  <c:v>1.3</c:v>
                </c:pt>
                <c:pt idx="2">
                  <c:v>1.5</c:v>
                </c:pt>
                <c:pt idx="3">
                  <c:v>1.5</c:v>
                </c:pt>
                <c:pt idx="4">
                  <c:v>1.5</c:v>
                </c:pt>
                <c:pt idx="5">
                  <c:v>1.5</c:v>
                </c:pt>
                <c:pt idx="6">
                  <c:v>1.5</c:v>
                </c:pt>
                <c:pt idx="7">
                  <c:v>1.5</c:v>
                </c:pt>
                <c:pt idx="8">
                  <c:v>1.5</c:v>
                </c:pt>
                <c:pt idx="9">
                  <c:v>1.5</c:v>
                </c:pt>
                <c:pt idx="10">
                  <c:v>1.5</c:v>
                </c:pt>
                <c:pt idx="11">
                  <c:v>1.5</c:v>
                </c:pt>
                <c:pt idx="12">
                  <c:v>1.5</c:v>
                </c:pt>
                <c:pt idx="13">
                  <c:v>1.5</c:v>
                </c:pt>
                <c:pt idx="14">
                  <c:v>1.5</c:v>
                </c:pt>
                <c:pt idx="15">
                  <c:v>1.5</c:v>
                </c:pt>
                <c:pt idx="16">
                  <c:v>1.5</c:v>
                </c:pt>
                <c:pt idx="17">
                  <c:v>1.5</c:v>
                </c:pt>
                <c:pt idx="18">
                  <c:v>1.5</c:v>
                </c:pt>
                <c:pt idx="19">
                  <c:v>1.5</c:v>
                </c:pt>
                <c:pt idx="20">
                  <c:v>1.5</c:v>
                </c:pt>
                <c:pt idx="21">
                  <c:v>1.5</c:v>
                </c:pt>
                <c:pt idx="22">
                  <c:v>1.25</c:v>
                </c:pt>
                <c:pt idx="23">
                  <c:v>0</c:v>
                </c:pt>
                <c:pt idx="24">
                  <c:v>0.41</c:v>
                </c:pt>
                <c:pt idx="25">
                  <c:v>0.41</c:v>
                </c:pt>
                <c:pt idx="26">
                  <c:v>5.085</c:v>
                </c:pt>
                <c:pt idx="27">
                  <c:v>13.125</c:v>
                </c:pt>
                <c:pt idx="28">
                  <c:v>21.192499999999999</c:v>
                </c:pt>
                <c:pt idx="29">
                  <c:v>42.71</c:v>
                </c:pt>
                <c:pt idx="30">
                  <c:v>61.82</c:v>
                </c:pt>
                <c:pt idx="31">
                  <c:v>64.450000000000017</c:v>
                </c:pt>
                <c:pt idx="32">
                  <c:v>68.950000000000017</c:v>
                </c:pt>
                <c:pt idx="33">
                  <c:v>76.88</c:v>
                </c:pt>
                <c:pt idx="34">
                  <c:v>78.950000000000017</c:v>
                </c:pt>
                <c:pt idx="35">
                  <c:v>78.950000000000017</c:v>
                </c:pt>
                <c:pt idx="36">
                  <c:v>78.950000000000017</c:v>
                </c:pt>
                <c:pt idx="37">
                  <c:v>79.709999999999994</c:v>
                </c:pt>
                <c:pt idx="38">
                  <c:v>83.71</c:v>
                </c:pt>
                <c:pt idx="39">
                  <c:v>84.950000000000017</c:v>
                </c:pt>
                <c:pt idx="40">
                  <c:v>84.950000000000017</c:v>
                </c:pt>
              </c:numCache>
            </c:numRef>
          </c:val>
        </c:ser>
        <c:ser>
          <c:idx val="23"/>
          <c:order val="23"/>
          <c:tx>
            <c:strRef>
              <c:f>'[IHS Energy Global Liquefaction Buildup Graphing Tool - 8 February(1).xlsm]Global Liquefaction Forecast'!$J$465</c:f>
              <c:strCache>
                <c:ptCount val="1"/>
                <c:pt idx="0">
                  <c:v>Yemen</c:v>
                </c:pt>
              </c:strCache>
            </c:strRef>
          </c:tx>
          <c:spPr>
            <a:solidFill>
              <a:schemeClr val="accent5"/>
            </a:solidFill>
            <a:ln w="25400">
              <a:noFill/>
            </a:ln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65:$AZ$465</c:f>
              <c:numCache>
                <c:formatCode>_(* #,##0.0_);_(* \(#,##0.0\);_(* ""??_);_(@_)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.53</c:v>
                </c:pt>
                <c:pt idx="20">
                  <c:v>6.31</c:v>
                </c:pt>
                <c:pt idx="21">
                  <c:v>7.2</c:v>
                </c:pt>
                <c:pt idx="22">
                  <c:v>7.2</c:v>
                </c:pt>
                <c:pt idx="23">
                  <c:v>7.2</c:v>
                </c:pt>
                <c:pt idx="24">
                  <c:v>7.2</c:v>
                </c:pt>
                <c:pt idx="25">
                  <c:v>7.2</c:v>
                </c:pt>
                <c:pt idx="26">
                  <c:v>7.2</c:v>
                </c:pt>
                <c:pt idx="27">
                  <c:v>7.2</c:v>
                </c:pt>
                <c:pt idx="28">
                  <c:v>7.2</c:v>
                </c:pt>
                <c:pt idx="29">
                  <c:v>7.2</c:v>
                </c:pt>
                <c:pt idx="30">
                  <c:v>7.2</c:v>
                </c:pt>
                <c:pt idx="31">
                  <c:v>7.2</c:v>
                </c:pt>
                <c:pt idx="32">
                  <c:v>7.2</c:v>
                </c:pt>
                <c:pt idx="33">
                  <c:v>7.2</c:v>
                </c:pt>
                <c:pt idx="34">
                  <c:v>7.2</c:v>
                </c:pt>
                <c:pt idx="35">
                  <c:v>7.2</c:v>
                </c:pt>
                <c:pt idx="36">
                  <c:v>7.2</c:v>
                </c:pt>
                <c:pt idx="37">
                  <c:v>7.2</c:v>
                </c:pt>
                <c:pt idx="38">
                  <c:v>7.2</c:v>
                </c:pt>
                <c:pt idx="39">
                  <c:v>7.2</c:v>
                </c:pt>
                <c:pt idx="40">
                  <c:v>7.2</c:v>
                </c:pt>
              </c:numCache>
            </c:numRef>
          </c:val>
        </c:ser>
        <c:ser>
          <c:idx val="24"/>
          <c:order val="24"/>
          <c:tx>
            <c:strRef>
              <c:f>'[IHS Energy Global Liquefaction Buildup Graphing Tool - 8 February(1).xlsm]Global Liquefaction Forecast'!$J$444</c:f>
              <c:strCache>
                <c:ptCount val="1"/>
                <c:pt idx="0">
                  <c:v>Brunei</c:v>
                </c:pt>
              </c:strCache>
            </c:strRef>
          </c:tx>
          <c:spPr>
            <a:solidFill>
              <a:schemeClr val="bg2"/>
            </a:solidFill>
            <a:ln w="25400">
              <a:noFill/>
            </a:ln>
          </c:spPr>
          <c:cat>
            <c:numRef>
              <c:f>'[IHS Energy Global Liquefaction Buildup Graphing Tool - 8 February(1).xlsm]Global Liquefaction Forecast'!$L$427:$AZ$427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</c:numRef>
          </c:cat>
          <c:val>
            <c:numRef>
              <c:f>'[IHS Energy Global Liquefaction Buildup Graphing Tool - 8 February(1).xlsm]Global Liquefaction Forecast'!$L$444:$AZ$444</c:f>
              <c:numCache>
                <c:formatCode>_(* #,##0.0_);_(* \(#,##0.0\);_(* ""??_);_(@_)</c:formatCode>
                <c:ptCount val="41"/>
                <c:pt idx="0">
                  <c:v>7.1999999999999984</c:v>
                </c:pt>
                <c:pt idx="1">
                  <c:v>7.1999999999999984</c:v>
                </c:pt>
                <c:pt idx="2">
                  <c:v>7.1999999999999984</c:v>
                </c:pt>
                <c:pt idx="3">
                  <c:v>7.1999999999999984</c:v>
                </c:pt>
                <c:pt idx="4">
                  <c:v>7.1999999999999984</c:v>
                </c:pt>
                <c:pt idx="5">
                  <c:v>7.1999999999999984</c:v>
                </c:pt>
                <c:pt idx="6">
                  <c:v>7.1999999999999984</c:v>
                </c:pt>
                <c:pt idx="7">
                  <c:v>7.1999999999999984</c:v>
                </c:pt>
                <c:pt idx="8">
                  <c:v>7.1999999999999984</c:v>
                </c:pt>
                <c:pt idx="9">
                  <c:v>7.1999999999999984</c:v>
                </c:pt>
                <c:pt idx="10">
                  <c:v>7.1999999999999984</c:v>
                </c:pt>
                <c:pt idx="11">
                  <c:v>7.1999999999999984</c:v>
                </c:pt>
                <c:pt idx="12">
                  <c:v>7.1999999999999984</c:v>
                </c:pt>
                <c:pt idx="13">
                  <c:v>7.1999999999999984</c:v>
                </c:pt>
                <c:pt idx="14">
                  <c:v>7.1999999999999984</c:v>
                </c:pt>
                <c:pt idx="15">
                  <c:v>7.1999999999999984</c:v>
                </c:pt>
                <c:pt idx="16">
                  <c:v>7.1999999999999984</c:v>
                </c:pt>
                <c:pt idx="17">
                  <c:v>7.1999999999999984</c:v>
                </c:pt>
                <c:pt idx="18">
                  <c:v>7.1999999999999984</c:v>
                </c:pt>
                <c:pt idx="19">
                  <c:v>7.1999999999999984</c:v>
                </c:pt>
                <c:pt idx="20">
                  <c:v>7.1999999999999984</c:v>
                </c:pt>
                <c:pt idx="21">
                  <c:v>7.1999999999999984</c:v>
                </c:pt>
                <c:pt idx="22">
                  <c:v>7.1999999999999984</c:v>
                </c:pt>
                <c:pt idx="23">
                  <c:v>7.1999999999999984</c:v>
                </c:pt>
                <c:pt idx="24">
                  <c:v>7.1999999999999984</c:v>
                </c:pt>
                <c:pt idx="25">
                  <c:v>7.1999999999999984</c:v>
                </c:pt>
                <c:pt idx="26">
                  <c:v>7.1999999999999984</c:v>
                </c:pt>
                <c:pt idx="27">
                  <c:v>7.1999999999999984</c:v>
                </c:pt>
                <c:pt idx="28">
                  <c:v>7.1999999999999984</c:v>
                </c:pt>
                <c:pt idx="29">
                  <c:v>7.1999999999999984</c:v>
                </c:pt>
                <c:pt idx="30">
                  <c:v>7.1999999999999984</c:v>
                </c:pt>
                <c:pt idx="31">
                  <c:v>7.1999999999999984</c:v>
                </c:pt>
                <c:pt idx="32">
                  <c:v>7.1999999999999984</c:v>
                </c:pt>
                <c:pt idx="33">
                  <c:v>7.1999999999999984</c:v>
                </c:pt>
                <c:pt idx="34">
                  <c:v>7.1999999999999984</c:v>
                </c:pt>
                <c:pt idx="35">
                  <c:v>7.1999999999999984</c:v>
                </c:pt>
                <c:pt idx="36">
                  <c:v>7.1999999999999984</c:v>
                </c:pt>
                <c:pt idx="37">
                  <c:v>7.1999999999999984</c:v>
                </c:pt>
                <c:pt idx="38">
                  <c:v>7.1999999999999984</c:v>
                </c:pt>
                <c:pt idx="39">
                  <c:v>7.1999999999999984</c:v>
                </c:pt>
                <c:pt idx="40">
                  <c:v>7.199999999999998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929728"/>
        <c:axId val="37931264"/>
      </c:areaChart>
      <c:catAx>
        <c:axId val="379297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 w="9525">
            <a:solidFill>
              <a:srgbClr val="707C8A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pl-PL"/>
          </a:p>
        </c:txPr>
        <c:crossAx val="37931264"/>
        <c:crosses val="autoZero"/>
        <c:auto val="1"/>
        <c:lblAlgn val="ctr"/>
        <c:lblOffset val="100"/>
        <c:tickMarkSkip val="5"/>
        <c:noMultiLvlLbl val="0"/>
      </c:catAx>
      <c:valAx>
        <c:axId val="37931264"/>
        <c:scaling>
          <c:orientation val="minMax"/>
        </c:scaling>
        <c:delete val="0"/>
        <c:axPos val="l"/>
        <c:majorGridlines>
          <c:spPr>
            <a:ln w="6350">
              <a:solidFill>
                <a:srgbClr val="707C8A"/>
              </a:solidFill>
              <a:prstDash val="solid"/>
            </a:ln>
          </c:spPr>
        </c:majorGridlines>
        <c:numFmt formatCode="#,##0" sourceLinked="0"/>
        <c:majorTickMark val="none"/>
        <c:minorTickMark val="none"/>
        <c:tickLblPos val="nextTo"/>
        <c:spPr>
          <a:ln w="9525">
            <a:solidFill>
              <a:srgbClr val="707C8A"/>
            </a:solidFill>
            <a:prstDash val="solid"/>
          </a:ln>
        </c:spPr>
        <c:crossAx val="37929728"/>
        <c:crosses val="autoZero"/>
        <c:crossBetween val="between"/>
      </c:valAx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0.104166655274863"/>
          <c:y val="0.78054061897202098"/>
          <c:w val="0.86805556998517397"/>
          <c:h val="0.19436143971594899"/>
        </c:manualLayout>
      </c:layout>
      <c:overlay val="0"/>
    </c:legend>
    <c:plotVisOnly val="1"/>
    <c:dispBlanksAs val="zero"/>
    <c:showDLblsOverMax val="0"/>
  </c:chart>
  <c:spPr>
    <a:solidFill>
      <a:sysClr val="window" lastClr="FFFFFF"/>
    </a:solidFill>
    <a:ln w="19050" cmpd="sng">
      <a:noFill/>
      <a:prstDash val="solid"/>
    </a:ln>
  </c:spPr>
  <c:txPr>
    <a:bodyPr/>
    <a:lstStyle/>
    <a:p>
      <a:pPr>
        <a:defRPr sz="900">
          <a:solidFill>
            <a:srgbClr val="000066"/>
          </a:solidFill>
          <a:latin typeface="Arial" pitchFamily="34" charset="0"/>
          <a:cs typeface="Arial" pitchFamily="34" charset="0"/>
        </a:defRPr>
      </a:pPr>
      <a:endParaRPr lang="pl-PL"/>
    </a:p>
  </c:txPr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100"/>
            </a:pPr>
            <a:r>
              <a:rPr lang="pl-PL" sz="1100"/>
              <a:t>Produkcja LNG na rynku w podziale na regiony </a:t>
            </a:r>
          </a:p>
          <a:p>
            <a:pPr>
              <a:defRPr sz="1100"/>
            </a:pPr>
            <a:r>
              <a:rPr lang="pl-PL" sz="1100"/>
              <a:t>(w mln ton rocznie)</a:t>
            </a:r>
            <a:endParaRPr lang="en-US" sz="1100"/>
          </a:p>
        </c:rich>
      </c:tx>
      <c:layout>
        <c:manualLayout>
          <c:xMode val="edge"/>
          <c:yMode val="edge"/>
          <c:x val="3.4717453980523102E-2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1387532532815101"/>
          <c:y val="0.13074795232091799"/>
          <c:w val="0.53805032130085295"/>
          <c:h val="0.795143729549762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Table 4'!$A$5</c:f>
              <c:strCache>
                <c:ptCount val="1"/>
                <c:pt idx="0">
                  <c:v>Pacyfik: Płd.-wsch. Azja</c:v>
                </c:pt>
              </c:strCache>
            </c:strRef>
          </c:tx>
          <c:invertIfNegative val="0"/>
          <c:cat>
            <c:strRef>
              <c:f>'Table 4'!$B$3:$G$4</c:f>
              <c:strCache>
                <c:ptCount val="6"/>
                <c:pt idx="0">
                  <c:v>2013</c:v>
                </c:pt>
                <c:pt idx="1">
                  <c:v>2014</c:v>
                </c:pt>
                <c:pt idx="2">
                  <c:v>2015F</c:v>
                </c:pt>
                <c:pt idx="3">
                  <c:v>2016F</c:v>
                </c:pt>
                <c:pt idx="4">
                  <c:v>2017F</c:v>
                </c:pt>
                <c:pt idx="5">
                  <c:v>2018F</c:v>
                </c:pt>
              </c:strCache>
            </c:strRef>
          </c:cat>
          <c:val>
            <c:numRef>
              <c:f>'Table 4'!$B$5:$G$5</c:f>
              <c:numCache>
                <c:formatCode>0.0</c:formatCode>
                <c:ptCount val="6"/>
                <c:pt idx="0">
                  <c:v>50.105004355600002</c:v>
                </c:pt>
                <c:pt idx="1">
                  <c:v>48.827852006400008</c:v>
                </c:pt>
                <c:pt idx="2">
                  <c:v>49.029921059729567</c:v>
                </c:pt>
                <c:pt idx="3">
                  <c:v>49.871044124236207</c:v>
                </c:pt>
                <c:pt idx="4">
                  <c:v>54.320818891706303</c:v>
                </c:pt>
                <c:pt idx="5">
                  <c:v>55.141737027645171</c:v>
                </c:pt>
              </c:numCache>
            </c:numRef>
          </c:val>
        </c:ser>
        <c:ser>
          <c:idx val="1"/>
          <c:order val="1"/>
          <c:tx>
            <c:strRef>
              <c:f>'Table 4'!$A$6</c:f>
              <c:strCache>
                <c:ptCount val="1"/>
                <c:pt idx="0">
                  <c:v>Pacyfik: Pozostałe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cat>
            <c:strRef>
              <c:f>'Table 4'!$B$3:$G$4</c:f>
              <c:strCache>
                <c:ptCount val="6"/>
                <c:pt idx="0">
                  <c:v>2013</c:v>
                </c:pt>
                <c:pt idx="1">
                  <c:v>2014</c:v>
                </c:pt>
                <c:pt idx="2">
                  <c:v>2015F</c:v>
                </c:pt>
                <c:pt idx="3">
                  <c:v>2016F</c:v>
                </c:pt>
                <c:pt idx="4">
                  <c:v>2017F</c:v>
                </c:pt>
                <c:pt idx="5">
                  <c:v>2018F</c:v>
                </c:pt>
              </c:strCache>
            </c:strRef>
          </c:cat>
          <c:val>
            <c:numRef>
              <c:f>'Table 4'!$B$6:$G$6</c:f>
              <c:numCache>
                <c:formatCode>0.0</c:formatCode>
                <c:ptCount val="6"/>
                <c:pt idx="0">
                  <c:v>37.186144305699997</c:v>
                </c:pt>
                <c:pt idx="1">
                  <c:v>41.891948359499999</c:v>
                </c:pt>
                <c:pt idx="2">
                  <c:v>50.953215476804758</c:v>
                </c:pt>
                <c:pt idx="3">
                  <c:v>65.097417000484469</c:v>
                </c:pt>
                <c:pt idx="4">
                  <c:v>83.430308861203983</c:v>
                </c:pt>
                <c:pt idx="5">
                  <c:v>97.714795430701869</c:v>
                </c:pt>
              </c:numCache>
            </c:numRef>
          </c:val>
        </c:ser>
        <c:ser>
          <c:idx val="2"/>
          <c:order val="2"/>
          <c:tx>
            <c:strRef>
              <c:f>'Table 4'!$A$7</c:f>
              <c:strCache>
                <c:ptCount val="1"/>
                <c:pt idx="0">
                  <c:v>Środkowy Wschód</c:v>
                </c:pt>
              </c:strCache>
            </c:strRef>
          </c:tx>
          <c:invertIfNegative val="0"/>
          <c:cat>
            <c:strRef>
              <c:f>'Table 4'!$B$3:$G$4</c:f>
              <c:strCache>
                <c:ptCount val="6"/>
                <c:pt idx="0">
                  <c:v>2013</c:v>
                </c:pt>
                <c:pt idx="1">
                  <c:v>2014</c:v>
                </c:pt>
                <c:pt idx="2">
                  <c:v>2015F</c:v>
                </c:pt>
                <c:pt idx="3">
                  <c:v>2016F</c:v>
                </c:pt>
                <c:pt idx="4">
                  <c:v>2017F</c:v>
                </c:pt>
                <c:pt idx="5">
                  <c:v>2018F</c:v>
                </c:pt>
              </c:strCache>
            </c:strRef>
          </c:cat>
          <c:val>
            <c:numRef>
              <c:f>'Table 4'!$B$7:$G$7</c:f>
              <c:numCache>
                <c:formatCode>0.0</c:formatCode>
                <c:ptCount val="6"/>
                <c:pt idx="0">
                  <c:v>99.719232877100012</c:v>
                </c:pt>
                <c:pt idx="1">
                  <c:v>96.890701502599924</c:v>
                </c:pt>
                <c:pt idx="2">
                  <c:v>94.623056162746906</c:v>
                </c:pt>
                <c:pt idx="3">
                  <c:v>91.712951620730877</c:v>
                </c:pt>
                <c:pt idx="4">
                  <c:v>90.809764809434185</c:v>
                </c:pt>
                <c:pt idx="5">
                  <c:v>91.514503117605614</c:v>
                </c:pt>
              </c:numCache>
            </c:numRef>
          </c:val>
        </c:ser>
        <c:ser>
          <c:idx val="3"/>
          <c:order val="3"/>
          <c:tx>
            <c:strRef>
              <c:f>'Table 4'!$A$8</c:f>
              <c:strCache>
                <c:ptCount val="1"/>
                <c:pt idx="0">
                  <c:v>Atlantyk: Europa i Ameryki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cat>
            <c:strRef>
              <c:f>'Table 4'!$B$3:$G$4</c:f>
              <c:strCache>
                <c:ptCount val="6"/>
                <c:pt idx="0">
                  <c:v>2013</c:v>
                </c:pt>
                <c:pt idx="1">
                  <c:v>2014</c:v>
                </c:pt>
                <c:pt idx="2">
                  <c:v>2015F</c:v>
                </c:pt>
                <c:pt idx="3">
                  <c:v>2016F</c:v>
                </c:pt>
                <c:pt idx="4">
                  <c:v>2017F</c:v>
                </c:pt>
                <c:pt idx="5">
                  <c:v>2018F</c:v>
                </c:pt>
              </c:strCache>
            </c:strRef>
          </c:cat>
          <c:val>
            <c:numRef>
              <c:f>'Table 4'!$B$8:$G$8</c:f>
              <c:numCache>
                <c:formatCode>0.0</c:formatCode>
                <c:ptCount val="6"/>
                <c:pt idx="0">
                  <c:v>17.464704577199981</c:v>
                </c:pt>
                <c:pt idx="1">
                  <c:v>18.0744675979</c:v>
                </c:pt>
                <c:pt idx="2">
                  <c:v>17.279639445774979</c:v>
                </c:pt>
                <c:pt idx="3">
                  <c:v>21.706952356478531</c:v>
                </c:pt>
                <c:pt idx="4">
                  <c:v>27.25133523392633</c:v>
                </c:pt>
                <c:pt idx="5">
                  <c:v>35.395007269566698</c:v>
                </c:pt>
              </c:numCache>
            </c:numRef>
          </c:val>
        </c:ser>
        <c:ser>
          <c:idx val="4"/>
          <c:order val="4"/>
          <c:tx>
            <c:strRef>
              <c:f>'Table 4'!$A$9</c:f>
              <c:strCache>
                <c:ptCount val="1"/>
                <c:pt idx="0">
                  <c:v>Atlantyk: Afryka</c:v>
                </c:pt>
              </c:strCache>
            </c:strRef>
          </c:tx>
          <c:invertIfNegative val="0"/>
          <c:cat>
            <c:strRef>
              <c:f>'Table 4'!$B$3:$G$4</c:f>
              <c:strCache>
                <c:ptCount val="6"/>
                <c:pt idx="0">
                  <c:v>2013</c:v>
                </c:pt>
                <c:pt idx="1">
                  <c:v>2014</c:v>
                </c:pt>
                <c:pt idx="2">
                  <c:v>2015F</c:v>
                </c:pt>
                <c:pt idx="3">
                  <c:v>2016F</c:v>
                </c:pt>
                <c:pt idx="4">
                  <c:v>2017F</c:v>
                </c:pt>
                <c:pt idx="5">
                  <c:v>2018F</c:v>
                </c:pt>
              </c:strCache>
            </c:strRef>
          </c:cat>
          <c:val>
            <c:numRef>
              <c:f>'Table 4'!$B$9:$G$9</c:f>
              <c:numCache>
                <c:formatCode>0.0</c:formatCode>
                <c:ptCount val="6"/>
                <c:pt idx="0">
                  <c:v>34.598651762000003</c:v>
                </c:pt>
                <c:pt idx="1">
                  <c:v>36.270668555099988</c:v>
                </c:pt>
                <c:pt idx="2">
                  <c:v>35.815175738350021</c:v>
                </c:pt>
                <c:pt idx="3">
                  <c:v>37.831980167996797</c:v>
                </c:pt>
                <c:pt idx="4">
                  <c:v>37.741524404527183</c:v>
                </c:pt>
                <c:pt idx="5">
                  <c:v>37.4168232831766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7961728"/>
        <c:axId val="37963264"/>
      </c:barChart>
      <c:catAx>
        <c:axId val="379617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37963264"/>
        <c:crosses val="autoZero"/>
        <c:auto val="1"/>
        <c:lblAlgn val="ctr"/>
        <c:lblOffset val="100"/>
        <c:noMultiLvlLbl val="0"/>
      </c:catAx>
      <c:valAx>
        <c:axId val="37963264"/>
        <c:scaling>
          <c:orientation val="minMax"/>
        </c:scaling>
        <c:delete val="0"/>
        <c:axPos val="l"/>
        <c:majorGridlines/>
        <c:numFmt formatCode="0.0" sourceLinked="1"/>
        <c:majorTickMark val="out"/>
        <c:minorTickMark val="none"/>
        <c:tickLblPos val="nextTo"/>
        <c:crossAx val="3796172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5239079454668303"/>
          <c:y val="0.29802045804434402"/>
          <c:w val="0.321657110958527"/>
          <c:h val="0.440707205372243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>
          <a:solidFill>
            <a:srgbClr val="002060"/>
          </a:solidFill>
        </a:defRPr>
      </a:pPr>
      <a:endParaRPr lang="pl-PL"/>
    </a:p>
  </c:txPr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2756</cdr:x>
      <cdr:y>0.10204</cdr:y>
    </cdr:from>
    <cdr:to>
      <cdr:x>0.06013</cdr:x>
      <cdr:y>0.69648</cdr:y>
    </cdr:to>
    <cdr:sp macro="" textlink="">
      <cdr:nvSpPr>
        <cdr:cNvPr id="9" name="txtBoxPrimaryYAxisLabel"/>
        <cdr:cNvSpPr txBox="1"/>
      </cdr:nvSpPr>
      <cdr:spPr>
        <a:xfrm xmlns:a="http://schemas.openxmlformats.org/drawingml/2006/main" rot="16200000">
          <a:off x="-992003" y="1722236"/>
          <a:ext cx="2785831" cy="29782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vert="horz" wrap="square" lIns="72000" tIns="72000" rIns="72000" bIns="72000" rtlCol="0">
          <a:noAutofit/>
        </a:bodyPr>
        <a:lstStyle xmlns:a="http://schemas.openxmlformats.org/drawingml/2006/main">
          <a:lvl1pPr marL="0" indent="0">
            <a:defRPr sz="1100">
              <a:latin typeface="Arial"/>
            </a:defRPr>
          </a:lvl1pPr>
          <a:lvl2pPr marL="457200" indent="0">
            <a:defRPr sz="1100">
              <a:latin typeface="Arial"/>
            </a:defRPr>
          </a:lvl2pPr>
          <a:lvl3pPr marL="914400" indent="0">
            <a:defRPr sz="1100">
              <a:latin typeface="Arial"/>
            </a:defRPr>
          </a:lvl3pPr>
          <a:lvl4pPr marL="1371600" indent="0">
            <a:defRPr sz="1100">
              <a:latin typeface="Arial"/>
            </a:defRPr>
          </a:lvl4pPr>
          <a:lvl5pPr marL="1828800" indent="0">
            <a:defRPr sz="1100">
              <a:latin typeface="Arial"/>
            </a:defRPr>
          </a:lvl5pPr>
          <a:lvl6pPr marL="2286000" indent="0">
            <a:defRPr sz="1100">
              <a:latin typeface="Arial"/>
            </a:defRPr>
          </a:lvl6pPr>
          <a:lvl7pPr marL="2743200" indent="0">
            <a:defRPr sz="1100">
              <a:latin typeface="Arial"/>
            </a:defRPr>
          </a:lvl7pPr>
          <a:lvl8pPr marL="3200400" indent="0">
            <a:defRPr sz="1100">
              <a:latin typeface="Arial"/>
            </a:defRPr>
          </a:lvl8pPr>
          <a:lvl9pPr marL="3657600" indent="0">
            <a:defRPr sz="1100">
              <a:latin typeface="Arial"/>
            </a:defRPr>
          </a:lvl9pPr>
        </a:lstStyle>
        <a:p xmlns:a="http://schemas.openxmlformats.org/drawingml/2006/main">
          <a:pPr algn="ctr"/>
          <a:r>
            <a:rPr lang="pl-PL" sz="900" b="1" dirty="0" smtClean="0">
              <a:solidFill>
                <a:srgbClr val="000066"/>
              </a:solidFill>
            </a:rPr>
            <a:t>Miliony ton rocznie</a:t>
          </a:r>
          <a:endParaRPr lang="en-US" sz="900" b="1" i="0" u="none" strike="noStrike" dirty="0" smtClean="0">
            <a:solidFill>
              <a:srgbClr val="000066"/>
            </a:solidFill>
            <a:latin typeface="Arial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0145</cdr:x>
      <cdr:y>0.22581</cdr:y>
    </cdr:from>
    <cdr:to>
      <cdr:x>0.17662</cdr:x>
      <cdr:y>0.27343</cdr:y>
    </cdr:to>
    <cdr:sp macro="" textlink="">
      <cdr:nvSpPr>
        <cdr:cNvPr id="2" name="pole tekstowe 1"/>
        <cdr:cNvSpPr txBox="1"/>
      </cdr:nvSpPr>
      <cdr:spPr>
        <a:xfrm xmlns:a="http://schemas.openxmlformats.org/drawingml/2006/main">
          <a:off x="504056" y="1008112"/>
          <a:ext cx="373486" cy="2126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pl-PL" sz="1100"/>
        </a:p>
      </cdr:txBody>
    </cdr:sp>
  </cdr:relSizeAnchor>
  <cdr:relSizeAnchor xmlns:cdr="http://schemas.openxmlformats.org/drawingml/2006/chartDrawing">
    <cdr:from>
      <cdr:x>0.09836</cdr:x>
      <cdr:y>0.20215</cdr:y>
    </cdr:from>
    <cdr:to>
      <cdr:x>0.19672</cdr:x>
      <cdr:y>0.24562</cdr:y>
    </cdr:to>
    <cdr:sp macro="" textlink="">
      <cdr:nvSpPr>
        <cdr:cNvPr id="3" name="pole tekstowe 2"/>
        <cdr:cNvSpPr txBox="1"/>
      </cdr:nvSpPr>
      <cdr:spPr>
        <a:xfrm xmlns:a="http://schemas.openxmlformats.org/drawingml/2006/main">
          <a:off x="432048" y="1004375"/>
          <a:ext cx="432048" cy="216024"/>
        </a:xfrm>
        <a:prstGeom xmlns:a="http://schemas.openxmlformats.org/drawingml/2006/main" prst="rect">
          <a:avLst/>
        </a:prstGeom>
        <a:solidFill xmlns:a="http://schemas.openxmlformats.org/drawingml/2006/main">
          <a:srgbClr val="FFC000"/>
        </a:solidFill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pl-PL" sz="800" b="1" dirty="0" smtClean="0">
              <a:latin typeface="Arial" panose="020B0604020202020204" pitchFamily="34" charset="0"/>
              <a:cs typeface="Arial" panose="020B0604020202020204" pitchFamily="34" charset="0"/>
            </a:rPr>
            <a:t> 239</a:t>
          </a:r>
        </a:p>
      </cdr:txBody>
    </cdr:sp>
  </cdr:relSizeAnchor>
  <cdr:relSizeAnchor xmlns:cdr="http://schemas.openxmlformats.org/drawingml/2006/chartDrawing">
    <cdr:from>
      <cdr:x>0.67213</cdr:x>
      <cdr:y>0.76993</cdr:y>
    </cdr:from>
    <cdr:to>
      <cdr:x>0.80328</cdr:x>
      <cdr:y>0.79621</cdr:y>
    </cdr:to>
    <cdr:sp macro="" textlink="">
      <cdr:nvSpPr>
        <cdr:cNvPr id="4" name="pole tekstowe 3"/>
        <cdr:cNvSpPr txBox="1"/>
      </cdr:nvSpPr>
      <cdr:spPr>
        <a:xfrm xmlns:a="http://schemas.openxmlformats.org/drawingml/2006/main">
          <a:off x="2952328" y="3825429"/>
          <a:ext cx="576064" cy="13057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pl-PL" sz="1100" dirty="0"/>
        </a:p>
      </cdr:txBody>
    </cdr:sp>
  </cdr:relSizeAnchor>
  <cdr:relSizeAnchor xmlns:cdr="http://schemas.openxmlformats.org/drawingml/2006/chartDrawing">
    <cdr:from>
      <cdr:x>0.29508</cdr:x>
      <cdr:y>0.17316</cdr:y>
    </cdr:from>
    <cdr:to>
      <cdr:x>0.39344</cdr:x>
      <cdr:y>0.21664</cdr:y>
    </cdr:to>
    <cdr:sp macro="" textlink="">
      <cdr:nvSpPr>
        <cdr:cNvPr id="5" name="pole tekstowe 1"/>
        <cdr:cNvSpPr txBox="1"/>
      </cdr:nvSpPr>
      <cdr:spPr>
        <a:xfrm xmlns:a="http://schemas.openxmlformats.org/drawingml/2006/main">
          <a:off x="1296144" y="860359"/>
          <a:ext cx="432048" cy="216024"/>
        </a:xfrm>
        <a:prstGeom xmlns:a="http://schemas.openxmlformats.org/drawingml/2006/main" prst="rect">
          <a:avLst/>
        </a:prstGeom>
        <a:solidFill xmlns:a="http://schemas.openxmlformats.org/drawingml/2006/main">
          <a:srgbClr val="FFC000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l-PL" sz="800" b="1" dirty="0" smtClean="0">
              <a:latin typeface="Arial" panose="020B0604020202020204" pitchFamily="34" charset="0"/>
              <a:cs typeface="Arial" panose="020B0604020202020204" pitchFamily="34" charset="0"/>
            </a:rPr>
            <a:t> 247</a:t>
          </a:r>
        </a:p>
      </cdr:txBody>
    </cdr:sp>
  </cdr:relSizeAnchor>
  <cdr:relSizeAnchor xmlns:cdr="http://schemas.openxmlformats.org/drawingml/2006/chartDrawing">
    <cdr:from>
      <cdr:x>0.19672</cdr:x>
      <cdr:y>0.18765</cdr:y>
    </cdr:from>
    <cdr:to>
      <cdr:x>0.29508</cdr:x>
      <cdr:y>0.23113</cdr:y>
    </cdr:to>
    <cdr:sp macro="" textlink="">
      <cdr:nvSpPr>
        <cdr:cNvPr id="6" name="pole tekstowe 1"/>
        <cdr:cNvSpPr txBox="1"/>
      </cdr:nvSpPr>
      <cdr:spPr>
        <a:xfrm xmlns:a="http://schemas.openxmlformats.org/drawingml/2006/main">
          <a:off x="864096" y="932367"/>
          <a:ext cx="432048" cy="216024"/>
        </a:xfrm>
        <a:prstGeom xmlns:a="http://schemas.openxmlformats.org/drawingml/2006/main" prst="rect">
          <a:avLst/>
        </a:prstGeom>
        <a:solidFill xmlns:a="http://schemas.openxmlformats.org/drawingml/2006/main">
          <a:srgbClr val="FFC000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l-PL" sz="800" b="1" dirty="0" smtClean="0">
              <a:latin typeface="Arial" panose="020B0604020202020204" pitchFamily="34" charset="0"/>
              <a:cs typeface="Arial" panose="020B0604020202020204" pitchFamily="34" charset="0"/>
            </a:rPr>
            <a:t> 242</a:t>
          </a:r>
        </a:p>
      </cdr:txBody>
    </cdr:sp>
  </cdr:relSizeAnchor>
  <cdr:relSizeAnchor xmlns:cdr="http://schemas.openxmlformats.org/drawingml/2006/chartDrawing">
    <cdr:from>
      <cdr:x>0.39344</cdr:x>
      <cdr:y>0.15867</cdr:y>
    </cdr:from>
    <cdr:to>
      <cdr:x>0.4918</cdr:x>
      <cdr:y>0.20215</cdr:y>
    </cdr:to>
    <cdr:sp macro="" textlink="">
      <cdr:nvSpPr>
        <cdr:cNvPr id="7" name="pole tekstowe 1"/>
        <cdr:cNvSpPr txBox="1"/>
      </cdr:nvSpPr>
      <cdr:spPr>
        <a:xfrm xmlns:a="http://schemas.openxmlformats.org/drawingml/2006/main">
          <a:off x="1728192" y="788351"/>
          <a:ext cx="432048" cy="216024"/>
        </a:xfrm>
        <a:prstGeom xmlns:a="http://schemas.openxmlformats.org/drawingml/2006/main" prst="rect">
          <a:avLst/>
        </a:prstGeom>
        <a:solidFill xmlns:a="http://schemas.openxmlformats.org/drawingml/2006/main">
          <a:srgbClr val="FFC000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l-PL" sz="800" b="1" dirty="0" smtClean="0">
              <a:latin typeface="Arial" panose="020B0604020202020204" pitchFamily="34" charset="0"/>
              <a:cs typeface="Arial" panose="020B0604020202020204" pitchFamily="34" charset="0"/>
            </a:rPr>
            <a:t> 266</a:t>
          </a:r>
        </a:p>
      </cdr:txBody>
    </cdr:sp>
  </cdr:relSizeAnchor>
  <cdr:relSizeAnchor xmlns:cdr="http://schemas.openxmlformats.org/drawingml/2006/chartDrawing">
    <cdr:from>
      <cdr:x>0.48998</cdr:x>
      <cdr:y>0.12968</cdr:y>
    </cdr:from>
    <cdr:to>
      <cdr:x>0.57923</cdr:x>
      <cdr:y>0.17316</cdr:y>
    </cdr:to>
    <cdr:sp macro="" textlink="">
      <cdr:nvSpPr>
        <cdr:cNvPr id="8" name="pole tekstowe 1"/>
        <cdr:cNvSpPr txBox="1"/>
      </cdr:nvSpPr>
      <cdr:spPr>
        <a:xfrm xmlns:a="http://schemas.openxmlformats.org/drawingml/2006/main">
          <a:off x="2152222" y="644335"/>
          <a:ext cx="392041" cy="216024"/>
        </a:xfrm>
        <a:prstGeom xmlns:a="http://schemas.openxmlformats.org/drawingml/2006/main" prst="rect">
          <a:avLst/>
        </a:prstGeom>
        <a:solidFill xmlns:a="http://schemas.openxmlformats.org/drawingml/2006/main">
          <a:srgbClr val="FFC000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l-PL" sz="800" b="1" dirty="0" smtClean="0">
              <a:latin typeface="Arial" panose="020B0604020202020204" pitchFamily="34" charset="0"/>
              <a:cs typeface="Arial" panose="020B0604020202020204" pitchFamily="34" charset="0"/>
            </a:rPr>
            <a:t> 293</a:t>
          </a:r>
        </a:p>
      </cdr:txBody>
    </cdr:sp>
  </cdr:relSizeAnchor>
  <cdr:relSizeAnchor xmlns:cdr="http://schemas.openxmlformats.org/drawingml/2006/chartDrawing">
    <cdr:from>
      <cdr:x>0.56093</cdr:x>
      <cdr:y>0.09524</cdr:y>
    </cdr:from>
    <cdr:to>
      <cdr:x>0.65018</cdr:x>
      <cdr:y>0.13872</cdr:y>
    </cdr:to>
    <cdr:sp macro="" textlink="">
      <cdr:nvSpPr>
        <cdr:cNvPr id="9" name="pole tekstowe 1"/>
        <cdr:cNvSpPr txBox="1"/>
      </cdr:nvSpPr>
      <cdr:spPr>
        <a:xfrm xmlns:a="http://schemas.openxmlformats.org/drawingml/2006/main">
          <a:off x="2483768" y="432048"/>
          <a:ext cx="395209" cy="197239"/>
        </a:xfrm>
        <a:prstGeom xmlns:a="http://schemas.openxmlformats.org/drawingml/2006/main" prst="rect">
          <a:avLst/>
        </a:prstGeom>
        <a:solidFill xmlns:a="http://schemas.openxmlformats.org/drawingml/2006/main">
          <a:srgbClr val="FFC000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l-PL" sz="800" b="1" dirty="0" smtClean="0">
              <a:latin typeface="Arial" panose="020B0604020202020204" pitchFamily="34" charset="0"/>
              <a:cs typeface="Arial" panose="020B0604020202020204" pitchFamily="34" charset="0"/>
            </a:rPr>
            <a:t> 317</a:t>
          </a:r>
        </a:p>
      </cdr:txBody>
    </cdr:sp>
  </cdr:relSizeAnchor>
  <cdr:relSizeAnchor xmlns:cdr="http://schemas.openxmlformats.org/drawingml/2006/chartDrawing">
    <cdr:from>
      <cdr:x>0.67213</cdr:x>
      <cdr:y>0.17757</cdr:y>
    </cdr:from>
    <cdr:to>
      <cdr:x>0.86885</cdr:x>
      <cdr:y>0.22222</cdr:y>
    </cdr:to>
    <cdr:sp macro="" textlink="">
      <cdr:nvSpPr>
        <cdr:cNvPr id="10" name="pole tekstowe 1"/>
        <cdr:cNvSpPr txBox="1"/>
      </cdr:nvSpPr>
      <cdr:spPr>
        <a:xfrm xmlns:a="http://schemas.openxmlformats.org/drawingml/2006/main">
          <a:off x="2976186" y="805539"/>
          <a:ext cx="871079" cy="202573"/>
        </a:xfrm>
        <a:prstGeom xmlns:a="http://schemas.openxmlformats.org/drawingml/2006/main" prst="rect">
          <a:avLst/>
        </a:prstGeom>
        <a:solidFill xmlns:a="http://schemas.openxmlformats.org/drawingml/2006/main">
          <a:srgbClr val="FFC000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l-PL" sz="800" b="1" dirty="0" smtClean="0">
              <a:latin typeface="Arial" panose="020B0604020202020204" pitchFamily="34" charset="0"/>
              <a:cs typeface="Arial" panose="020B0604020202020204" pitchFamily="34" charset="0"/>
            </a:rPr>
            <a:t> Ilość łącznie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443" y="0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091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443" y="9430091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0F87CC8E-1DDC-4D05-9994-342337148AC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5567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5120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512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0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907"/>
            <a:ext cx="5438140" cy="4467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Kliknij, aby edytować style wzorca tekstu</a:t>
            </a:r>
          </a:p>
          <a:p>
            <a:pPr lvl="1"/>
            <a:r>
              <a:rPr lang="en-US" smtClean="0"/>
              <a:t>Drugi poziom</a:t>
            </a:r>
          </a:p>
          <a:p>
            <a:pPr lvl="2"/>
            <a:r>
              <a:rPr lang="en-US" smtClean="0"/>
              <a:t>Trzeci poziom</a:t>
            </a:r>
          </a:p>
          <a:p>
            <a:pPr lvl="3"/>
            <a:r>
              <a:rPr lang="en-US" smtClean="0"/>
              <a:t>Czwarty poziom</a:t>
            </a:r>
          </a:p>
          <a:p>
            <a:pPr lvl="4"/>
            <a:r>
              <a:rPr lang="en-US" smtClean="0"/>
              <a:t>Piąty poziom</a:t>
            </a:r>
          </a:p>
        </p:txBody>
      </p:sp>
      <p:sp>
        <p:nvSpPr>
          <p:cNvPr id="5120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0091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5120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30091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75174BA-A63D-44B5-9EE9-A98F5B0BF0C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37109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528" y="3890208"/>
            <a:ext cx="8493770" cy="1254125"/>
          </a:xfrm>
        </p:spPr>
        <p:txBody>
          <a:bodyPr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</a:t>
            </a:r>
            <a:endParaRPr lang="en-US" noProof="0" dirty="0" smtClean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531" y="5229200"/>
            <a:ext cx="8496944" cy="792162"/>
          </a:xfrm>
        </p:spPr>
        <p:txBody>
          <a:bodyPr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 wzorca podtytułu</a:t>
            </a:r>
            <a:endParaRPr lang="en-US" noProof="0" dirty="0" smtClean="0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843215" y="6084738"/>
            <a:ext cx="3455987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Miejscowość</a:t>
            </a:r>
            <a:r>
              <a:rPr lang="en-US" dirty="0" smtClean="0"/>
              <a:t>, Da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605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2" y="152400"/>
            <a:ext cx="7147520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304800" y="1385366"/>
            <a:ext cx="8515672" cy="506797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622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04800" y="1412776"/>
            <a:ext cx="8515672" cy="5040560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  <a:lvl2pPr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3058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Prostokąt 5"/>
          <p:cNvSpPr/>
          <p:nvPr userDrawn="1"/>
        </p:nvSpPr>
        <p:spPr>
          <a:xfrm>
            <a:off x="0" y="1252603"/>
            <a:ext cx="3048000" cy="5344578"/>
          </a:xfrm>
          <a:prstGeom prst="rect">
            <a:avLst/>
          </a:prstGeom>
          <a:solidFill>
            <a:srgbClr val="0A1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627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Prostokąt 5"/>
          <p:cNvSpPr/>
          <p:nvPr userDrawn="1"/>
        </p:nvSpPr>
        <p:spPr>
          <a:xfrm>
            <a:off x="0" y="1252603"/>
            <a:ext cx="3048000" cy="5344578"/>
          </a:xfrm>
          <a:prstGeom prst="rect">
            <a:avLst/>
          </a:prstGeom>
          <a:pattFill prst="ltDnDiag">
            <a:fgClr>
              <a:srgbClr val="CDCFD0"/>
            </a:fgClr>
            <a:bgClr>
              <a:schemeClr val="tx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247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7" name="Prostokąt 6"/>
          <p:cNvSpPr/>
          <p:nvPr userDrawn="1"/>
        </p:nvSpPr>
        <p:spPr>
          <a:xfrm>
            <a:off x="2916238" y="1252603"/>
            <a:ext cx="131762" cy="5344578"/>
          </a:xfrm>
          <a:prstGeom prst="rect">
            <a:avLst/>
          </a:prstGeom>
          <a:pattFill prst="ltDnDiag">
            <a:fgClr>
              <a:srgbClr val="CDCFD0"/>
            </a:fgClr>
            <a:bgClr>
              <a:schemeClr val="tx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279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Prostokąt 5"/>
          <p:cNvSpPr/>
          <p:nvPr userDrawn="1"/>
        </p:nvSpPr>
        <p:spPr>
          <a:xfrm>
            <a:off x="0" y="1252603"/>
            <a:ext cx="4572000" cy="5344578"/>
          </a:xfrm>
          <a:prstGeom prst="rect">
            <a:avLst/>
          </a:prstGeom>
          <a:solidFill>
            <a:srgbClr val="0A1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528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7" name="Prostokąt 6"/>
          <p:cNvSpPr/>
          <p:nvPr userDrawn="1"/>
        </p:nvSpPr>
        <p:spPr>
          <a:xfrm>
            <a:off x="0" y="1252603"/>
            <a:ext cx="4572000" cy="5344578"/>
          </a:xfrm>
          <a:prstGeom prst="rect">
            <a:avLst/>
          </a:prstGeom>
          <a:pattFill prst="ltDnDiag">
            <a:fgClr>
              <a:srgbClr val="CDCFD0"/>
            </a:fgClr>
            <a:bgClr>
              <a:schemeClr val="tx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168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Prostokąt 5"/>
          <p:cNvSpPr/>
          <p:nvPr userDrawn="1"/>
        </p:nvSpPr>
        <p:spPr>
          <a:xfrm>
            <a:off x="4506119" y="1252603"/>
            <a:ext cx="131762" cy="5344578"/>
          </a:xfrm>
          <a:prstGeom prst="rect">
            <a:avLst/>
          </a:prstGeom>
          <a:pattFill prst="dkDnDiag">
            <a:fgClr>
              <a:schemeClr val="tx1"/>
            </a:fgClr>
            <a:bgClr>
              <a:srgbClr val="CDCFD0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726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0" y="4406900"/>
            <a:ext cx="8515672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304800" y="2906713"/>
            <a:ext cx="8515672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581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147520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304800" y="1412776"/>
            <a:ext cx="4195192" cy="5040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4008" y="1412776"/>
            <a:ext cx="4114750" cy="5040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004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198783"/>
            <a:ext cx="7139136" cy="8655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4"/>
            <a:ext cx="4040188" cy="4278461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4"/>
            <a:ext cx="4041775" cy="4278461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10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601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7020275" y="1412776"/>
            <a:ext cx="1838325" cy="504056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304800" y="1412776"/>
            <a:ext cx="6643464" cy="504056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706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7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6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7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920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026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1460253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1435100"/>
            <a:ext cx="5111750" cy="5018236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2730104"/>
            <a:ext cx="3008313" cy="3723231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497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14401" y="4800600"/>
            <a:ext cx="5486400" cy="566738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314401" y="1412775"/>
            <a:ext cx="5486400" cy="331479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l-PL" smtClean="0"/>
              <a:t>Kliknij ikonę, aby dodać obraz</a:t>
            </a:r>
            <a:endParaRPr lang="pl-PL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314401" y="5367338"/>
            <a:ext cx="5486400" cy="804862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007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147520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304800" y="1385366"/>
            <a:ext cx="8515672" cy="506797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26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7020272" y="1412776"/>
            <a:ext cx="1838325" cy="504056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304800" y="1412776"/>
            <a:ext cx="6643464" cy="504056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0950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1541463" y="3154363"/>
            <a:ext cx="6102350" cy="1176337"/>
          </a:xfrm>
        </p:spPr>
        <p:txBody>
          <a:bodyPr lIns="100012" tIns="49212" rIns="100012" bIns="49212"/>
          <a:lstStyle>
            <a:lvl1pPr algn="ctr">
              <a:lnSpc>
                <a:spcPct val="105000"/>
              </a:lnSpc>
              <a:defRPr sz="3100"/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3845929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9CF272E-4F58-41CD-97E6-3BF790C2EC2F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0943421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E4CA470-8D59-4D6C-8F8B-EC4BA829351E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2033844"/>
      </p:ext>
    </p:extLst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176213" y="1544638"/>
            <a:ext cx="4268787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97400" y="1544638"/>
            <a:ext cx="4270375" cy="443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2C1EA42-63FF-4E16-85D8-123793C504CF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1218710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6894193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CC062-AC53-4FC4-92AA-C022A49AE8D0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2750308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DC5A7EC-7C6A-4C6C-B7EF-ADB725188CDE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859716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A209B2A-EAC1-4B99-AE0E-30D6A098FBD4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1514938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BC14BED-35B1-41E8-A3FB-9EF819853854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6373025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C791B72-CBF4-437E-92CB-2993CA5A02B7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7377428"/>
      </p:ext>
    </p:extLst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A3773FC-08F6-4AB6-A00C-A476DB80DBAE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8512039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96075" y="531813"/>
            <a:ext cx="2171700" cy="5448300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176213" y="531813"/>
            <a:ext cx="6367462" cy="5448300"/>
          </a:xfr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7358FDE-6273-45B5-A558-A1DB1785A3DB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9773293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zawartości 1"/>
          <p:cNvSpPr>
            <a:spLocks noGrp="1"/>
          </p:cNvSpPr>
          <p:nvPr>
            <p:ph/>
          </p:nvPr>
        </p:nvSpPr>
        <p:spPr>
          <a:xfrm>
            <a:off x="176213" y="531813"/>
            <a:ext cx="8691562" cy="5448300"/>
          </a:xfr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7353D99-D0E1-4E45-822F-416480ED2F15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1519872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940404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9006403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036580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8103228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7516919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528" y="3890202"/>
            <a:ext cx="8493770" cy="1254125"/>
          </a:xfrm>
        </p:spPr>
        <p:txBody>
          <a:bodyPr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err="1" smtClean="0"/>
              <a:t>Kliknij</a:t>
            </a:r>
            <a:r>
              <a:rPr lang="en-US" noProof="0" dirty="0" smtClean="0"/>
              <a:t>, aby </a:t>
            </a:r>
            <a:r>
              <a:rPr lang="en-US" noProof="0" dirty="0" err="1" smtClean="0"/>
              <a:t>edytować</a:t>
            </a:r>
            <a:r>
              <a:rPr lang="en-US" noProof="0" dirty="0" smtClean="0"/>
              <a:t> </a:t>
            </a:r>
            <a:r>
              <a:rPr lang="en-US" noProof="0" dirty="0" err="1" smtClean="0"/>
              <a:t>styl</a:t>
            </a:r>
            <a:r>
              <a:rPr lang="en-US" noProof="0" dirty="0" smtClean="0"/>
              <a:t> </a:t>
            </a:r>
            <a:r>
              <a:rPr lang="en-US" noProof="0" dirty="0" err="1" smtClean="0"/>
              <a:t>wzorca</a:t>
            </a:r>
            <a:r>
              <a:rPr lang="en-US" noProof="0" dirty="0" smtClean="0"/>
              <a:t> </a:t>
            </a:r>
            <a:r>
              <a:rPr lang="en-US" noProof="0" dirty="0" err="1" smtClean="0"/>
              <a:t>tytułu</a:t>
            </a:r>
            <a:endParaRPr lang="en-US" noProof="0" dirty="0" smtClean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528" y="5229200"/>
            <a:ext cx="8496944" cy="792162"/>
          </a:xfrm>
        </p:spPr>
        <p:txBody>
          <a:bodyPr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err="1" smtClean="0"/>
              <a:t>Kliknij</a:t>
            </a:r>
            <a:r>
              <a:rPr lang="en-US" noProof="0" dirty="0" smtClean="0"/>
              <a:t>, aby </a:t>
            </a:r>
            <a:r>
              <a:rPr lang="en-US" noProof="0" dirty="0" err="1" smtClean="0"/>
              <a:t>edytować</a:t>
            </a:r>
            <a:r>
              <a:rPr lang="en-US" noProof="0" dirty="0" smtClean="0"/>
              <a:t> </a:t>
            </a:r>
            <a:r>
              <a:rPr lang="en-US" noProof="0" dirty="0" err="1" smtClean="0"/>
              <a:t>styl</a:t>
            </a:r>
            <a:r>
              <a:rPr lang="en-US" noProof="0" dirty="0" smtClean="0"/>
              <a:t> </a:t>
            </a:r>
            <a:r>
              <a:rPr lang="en-US" noProof="0" dirty="0" err="1" smtClean="0"/>
              <a:t>wzorca</a:t>
            </a:r>
            <a:r>
              <a:rPr lang="en-US" noProof="0" dirty="0" smtClean="0"/>
              <a:t> </a:t>
            </a:r>
            <a:r>
              <a:rPr lang="en-US" noProof="0" dirty="0" err="1" smtClean="0"/>
              <a:t>podtytułu</a:t>
            </a:r>
            <a:endParaRPr lang="en-US" noProof="0" dirty="0" smtClean="0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843213" y="6084738"/>
            <a:ext cx="3455987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>
                <a:solidFill>
                  <a:srgbClr val="0A1D64"/>
                </a:solidFill>
              </a:rPr>
              <a:t>Miejscowość</a:t>
            </a:r>
            <a:r>
              <a:rPr lang="en-US" dirty="0" smtClean="0">
                <a:solidFill>
                  <a:srgbClr val="0A1D64"/>
                </a:solidFill>
              </a:rPr>
              <a:t>, Data</a:t>
            </a:r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912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04800" y="1412776"/>
            <a:ext cx="8515672" cy="5040560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  <a:lvl2pPr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495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04800" y="1412776"/>
            <a:ext cx="8515672" cy="5040560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  <a:lvl2pPr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56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0" y="4406900"/>
            <a:ext cx="8515672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304800" y="2906713"/>
            <a:ext cx="8515672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008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147520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304800" y="1412776"/>
            <a:ext cx="4195192" cy="5040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4008" y="1412776"/>
            <a:ext cx="4114750" cy="5040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280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198783"/>
            <a:ext cx="7139136" cy="8655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4"/>
            <a:ext cx="4040188" cy="4278461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4"/>
            <a:ext cx="4041775" cy="4278461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10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695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7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6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7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525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539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1460253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1435100"/>
            <a:ext cx="5111750" cy="5018236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2730104"/>
            <a:ext cx="3008313" cy="3723231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572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14401" y="4800600"/>
            <a:ext cx="5486400" cy="566738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314401" y="1412775"/>
            <a:ext cx="5486400" cy="331479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314401" y="5367338"/>
            <a:ext cx="5486400" cy="804862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359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147520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304800" y="1385366"/>
            <a:ext cx="8515672" cy="506797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184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7020272" y="1412776"/>
            <a:ext cx="1838325" cy="504056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304800" y="1412776"/>
            <a:ext cx="6643464" cy="504056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84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528" y="3890202"/>
            <a:ext cx="8493770" cy="1254125"/>
          </a:xfrm>
        </p:spPr>
        <p:txBody>
          <a:bodyPr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</a:t>
            </a:r>
            <a:endParaRPr lang="en-US" noProof="0" dirty="0" smtClean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528" y="5229200"/>
            <a:ext cx="8496944" cy="792162"/>
          </a:xfrm>
        </p:spPr>
        <p:txBody>
          <a:bodyPr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 wzorca podtytułu</a:t>
            </a:r>
            <a:endParaRPr lang="en-US" noProof="0" dirty="0" smtClean="0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843213" y="6084738"/>
            <a:ext cx="3455987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>
                <a:solidFill>
                  <a:srgbClr val="0A1D64"/>
                </a:solidFill>
              </a:rPr>
              <a:t>Miejscowość</a:t>
            </a:r>
            <a:r>
              <a:rPr lang="en-US" dirty="0" smtClean="0">
                <a:solidFill>
                  <a:srgbClr val="0A1D64"/>
                </a:solidFill>
              </a:rPr>
              <a:t>, Data</a:t>
            </a:r>
            <a:endParaRPr lang="en-US" dirty="0">
              <a:solidFill>
                <a:srgbClr val="0A1D64"/>
              </a:solidFill>
            </a:endParaRPr>
          </a:p>
        </p:txBody>
      </p:sp>
      <p:pic>
        <p:nvPicPr>
          <p:cNvPr id="1026" name="Picture 2" descr="C:\Users\Kuba\Documents\PRACA\PGNiG\10lat\Logotyp\PNG\kolory manual\10 Lat PGNiG Logotyp-03 copyD.png"/>
          <p:cNvPicPr>
            <a:picLocks noChangeAspect="1" noChangeArrowheads="1"/>
          </p:cNvPicPr>
          <p:nvPr userDrawn="1"/>
        </p:nvPicPr>
        <p:blipFill>
          <a:blip r:embed="rId3" cstate="print"/>
          <a:stretch>
            <a:fillRect/>
          </a:stretch>
        </p:blipFill>
        <p:spPr bwMode="auto">
          <a:xfrm>
            <a:off x="1315469" y="2195601"/>
            <a:ext cx="6555612" cy="102956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52106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0" y="4406906"/>
            <a:ext cx="8515672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304800" y="2906713"/>
            <a:ext cx="8515672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735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04800" y="1412776"/>
            <a:ext cx="8515672" cy="5040560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  <a:lvl2pPr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6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0" y="4406900"/>
            <a:ext cx="8515672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304800" y="2906713"/>
            <a:ext cx="8515672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3546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147520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304800" y="1412776"/>
            <a:ext cx="4195192" cy="5040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4008" y="1412776"/>
            <a:ext cx="4114750" cy="5040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379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198783"/>
            <a:ext cx="7139136" cy="8655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4"/>
            <a:ext cx="4040188" cy="4278461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4"/>
            <a:ext cx="4041775" cy="4278461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10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346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7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6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7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23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7288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1460253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1435100"/>
            <a:ext cx="5111750" cy="5018236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2730104"/>
            <a:ext cx="3008313" cy="3723231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97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14401" y="4800600"/>
            <a:ext cx="5486400" cy="566738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314401" y="1412775"/>
            <a:ext cx="5486400" cy="331479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l-PL" smtClean="0"/>
              <a:t>Kliknij ikonę, aby dodać obraz</a:t>
            </a:r>
            <a:endParaRPr lang="pl-PL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314401" y="5367338"/>
            <a:ext cx="5486400" cy="804862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233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147520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304800" y="1385366"/>
            <a:ext cx="8515672" cy="506797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590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7020272" y="1412776"/>
            <a:ext cx="1838325" cy="504056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304800" y="1412776"/>
            <a:ext cx="6643464" cy="504056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7630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2" y="152400"/>
            <a:ext cx="7147520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304800" y="1412776"/>
            <a:ext cx="4195192" cy="5040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4008" y="1412776"/>
            <a:ext cx="4114750" cy="5040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781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528" y="3890202"/>
            <a:ext cx="8493770" cy="1254125"/>
          </a:xfrm>
        </p:spPr>
        <p:txBody>
          <a:bodyPr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</a:t>
            </a:r>
            <a:endParaRPr lang="en-US" noProof="0" dirty="0" smtClean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528" y="5229200"/>
            <a:ext cx="8496944" cy="792162"/>
          </a:xfrm>
        </p:spPr>
        <p:txBody>
          <a:bodyPr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 wzorca podtytułu</a:t>
            </a:r>
            <a:endParaRPr lang="en-US" noProof="0" dirty="0" smtClean="0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843213" y="6084738"/>
            <a:ext cx="3455987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>
                <a:solidFill>
                  <a:srgbClr val="0A1D64"/>
                </a:solidFill>
              </a:rPr>
              <a:t>Miejscowość</a:t>
            </a:r>
            <a:r>
              <a:rPr lang="en-US" dirty="0" smtClean="0">
                <a:solidFill>
                  <a:srgbClr val="0A1D64"/>
                </a:solidFill>
              </a:rPr>
              <a:t>, Data</a:t>
            </a:r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610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Slajd tytułow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3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528" y="3890202"/>
            <a:ext cx="8493770" cy="1254125"/>
          </a:xfrm>
        </p:spPr>
        <p:txBody>
          <a:bodyPr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</a:t>
            </a:r>
            <a:endParaRPr lang="en-US" noProof="0" dirty="0" smtClean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528" y="5229200"/>
            <a:ext cx="8496944" cy="792162"/>
          </a:xfrm>
        </p:spPr>
        <p:txBody>
          <a:bodyPr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 wzorca podtytułu</a:t>
            </a:r>
            <a:endParaRPr lang="en-US" noProof="0" dirty="0" smtClean="0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843213" y="6084738"/>
            <a:ext cx="3455987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>
                <a:solidFill>
                  <a:srgbClr val="0A1D64"/>
                </a:solidFill>
              </a:rPr>
              <a:t>Miejscowość</a:t>
            </a:r>
            <a:r>
              <a:rPr lang="en-US" dirty="0" smtClean="0">
                <a:solidFill>
                  <a:srgbClr val="0A1D64"/>
                </a:solidFill>
              </a:rPr>
              <a:t>, Data</a:t>
            </a:r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024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Slajd tytułow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3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528" y="3890202"/>
            <a:ext cx="8493770" cy="1254125"/>
          </a:xfrm>
        </p:spPr>
        <p:txBody>
          <a:bodyPr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</a:t>
            </a:r>
            <a:endParaRPr lang="en-US" noProof="0" dirty="0" smtClean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528" y="5229200"/>
            <a:ext cx="8496944" cy="792162"/>
          </a:xfrm>
        </p:spPr>
        <p:txBody>
          <a:bodyPr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 wzorca podtytułu</a:t>
            </a:r>
            <a:endParaRPr lang="en-US" noProof="0" dirty="0" smtClean="0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843213" y="6084738"/>
            <a:ext cx="3455987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>
                <a:solidFill>
                  <a:srgbClr val="0A1D64"/>
                </a:solidFill>
              </a:rPr>
              <a:t>Miejscowość</a:t>
            </a:r>
            <a:r>
              <a:rPr lang="en-US" dirty="0" smtClean="0">
                <a:solidFill>
                  <a:srgbClr val="0A1D64"/>
                </a:solidFill>
              </a:rPr>
              <a:t>, Data</a:t>
            </a:r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733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04800" y="1412776"/>
            <a:ext cx="8515672" cy="5040560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  <a:lvl2pPr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886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Prostokąt 5"/>
          <p:cNvSpPr/>
          <p:nvPr userDrawn="1"/>
        </p:nvSpPr>
        <p:spPr>
          <a:xfrm>
            <a:off x="0" y="1252603"/>
            <a:ext cx="3048000" cy="5344578"/>
          </a:xfrm>
          <a:prstGeom prst="rect">
            <a:avLst/>
          </a:prstGeom>
          <a:solidFill>
            <a:srgbClr val="0A1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119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Prostokąt 5"/>
          <p:cNvSpPr/>
          <p:nvPr userDrawn="1"/>
        </p:nvSpPr>
        <p:spPr>
          <a:xfrm>
            <a:off x="0" y="1252603"/>
            <a:ext cx="3048000" cy="5344578"/>
          </a:xfrm>
          <a:prstGeom prst="rect">
            <a:avLst/>
          </a:prstGeom>
          <a:pattFill prst="ltDnDiag">
            <a:fgClr>
              <a:srgbClr val="CDCFD0"/>
            </a:fgClr>
            <a:bgClr>
              <a:schemeClr val="tx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242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7" name="Prostokąt 6"/>
          <p:cNvSpPr/>
          <p:nvPr userDrawn="1"/>
        </p:nvSpPr>
        <p:spPr>
          <a:xfrm>
            <a:off x="2916238" y="1252603"/>
            <a:ext cx="131762" cy="5344578"/>
          </a:xfrm>
          <a:prstGeom prst="rect">
            <a:avLst/>
          </a:prstGeom>
          <a:pattFill prst="ltDnDiag">
            <a:fgClr>
              <a:srgbClr val="CDCFD0"/>
            </a:fgClr>
            <a:bgClr>
              <a:schemeClr val="tx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16418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Prostokąt 5"/>
          <p:cNvSpPr/>
          <p:nvPr userDrawn="1"/>
        </p:nvSpPr>
        <p:spPr>
          <a:xfrm>
            <a:off x="0" y="1252603"/>
            <a:ext cx="4572000" cy="5344578"/>
          </a:xfrm>
          <a:prstGeom prst="rect">
            <a:avLst/>
          </a:prstGeom>
          <a:solidFill>
            <a:srgbClr val="0A1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227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7" name="Prostokąt 6"/>
          <p:cNvSpPr/>
          <p:nvPr userDrawn="1"/>
        </p:nvSpPr>
        <p:spPr>
          <a:xfrm>
            <a:off x="0" y="1252603"/>
            <a:ext cx="4572000" cy="5344578"/>
          </a:xfrm>
          <a:prstGeom prst="rect">
            <a:avLst/>
          </a:prstGeom>
          <a:pattFill prst="ltDnDiag">
            <a:fgClr>
              <a:srgbClr val="CDCFD0"/>
            </a:fgClr>
            <a:bgClr>
              <a:schemeClr val="tx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507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Prostokąt 5"/>
          <p:cNvSpPr/>
          <p:nvPr userDrawn="1"/>
        </p:nvSpPr>
        <p:spPr>
          <a:xfrm>
            <a:off x="4506119" y="1252603"/>
            <a:ext cx="131762" cy="5344578"/>
          </a:xfrm>
          <a:prstGeom prst="rect">
            <a:avLst/>
          </a:prstGeom>
          <a:pattFill prst="dkDnDiag">
            <a:fgClr>
              <a:schemeClr val="tx1"/>
            </a:fgClr>
            <a:bgClr>
              <a:srgbClr val="CDCFD0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94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198783"/>
            <a:ext cx="7139136" cy="8655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8"/>
            <a:ext cx="4040188" cy="4278461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8" y="2174878"/>
            <a:ext cx="4041775" cy="4278461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10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469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0" y="4406900"/>
            <a:ext cx="8515672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304800" y="2906713"/>
            <a:ext cx="8515672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585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147520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304800" y="1412776"/>
            <a:ext cx="4195192" cy="5040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4008" y="1412776"/>
            <a:ext cx="4114750" cy="5040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648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198783"/>
            <a:ext cx="7139136" cy="8655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4"/>
            <a:ext cx="4040188" cy="4278461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4"/>
            <a:ext cx="4041775" cy="4278461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10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778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7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6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7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127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445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1460253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1435100"/>
            <a:ext cx="5111750" cy="5018236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2730104"/>
            <a:ext cx="3008313" cy="3723231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721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14401" y="4800600"/>
            <a:ext cx="5486400" cy="566738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314401" y="1412775"/>
            <a:ext cx="5486400" cy="331479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l-PL" smtClean="0"/>
              <a:t>Kliknij ikonę, aby dodać obraz</a:t>
            </a:r>
            <a:endParaRPr lang="pl-PL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314401" y="5367338"/>
            <a:ext cx="5486400" cy="804862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226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147520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304800" y="1385366"/>
            <a:ext cx="8515672" cy="506797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509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7020272" y="1412776"/>
            <a:ext cx="1838325" cy="504056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304800" y="1412776"/>
            <a:ext cx="6643464" cy="504056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39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528" y="3890202"/>
            <a:ext cx="8493770" cy="1254125"/>
          </a:xfrm>
        </p:spPr>
        <p:txBody>
          <a:bodyPr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</a:t>
            </a:r>
            <a:endParaRPr lang="en-US" noProof="0" dirty="0" smtClean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528" y="5229200"/>
            <a:ext cx="8496944" cy="792162"/>
          </a:xfrm>
        </p:spPr>
        <p:txBody>
          <a:bodyPr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 wzorca podtytułu</a:t>
            </a:r>
            <a:endParaRPr lang="en-US" noProof="0" dirty="0" smtClean="0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843213" y="6084738"/>
            <a:ext cx="3455987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>
                <a:solidFill>
                  <a:srgbClr val="0A1D64"/>
                </a:solidFill>
              </a:rPr>
              <a:t>Miejscowość</a:t>
            </a:r>
            <a:r>
              <a:rPr lang="en-US" dirty="0" smtClean="0">
                <a:solidFill>
                  <a:srgbClr val="0A1D64"/>
                </a:solidFill>
              </a:rPr>
              <a:t>, Data</a:t>
            </a:r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11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4" y="152400"/>
            <a:ext cx="7219527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6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629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Slajd tytułow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3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528" y="3890202"/>
            <a:ext cx="8493770" cy="1254125"/>
          </a:xfrm>
        </p:spPr>
        <p:txBody>
          <a:bodyPr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</a:t>
            </a:r>
            <a:endParaRPr lang="en-US" noProof="0" dirty="0" smtClean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528" y="5229200"/>
            <a:ext cx="8496944" cy="792162"/>
          </a:xfrm>
        </p:spPr>
        <p:txBody>
          <a:bodyPr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 wzorca podtytułu</a:t>
            </a:r>
            <a:endParaRPr lang="en-US" noProof="0" dirty="0" smtClean="0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843213" y="6084738"/>
            <a:ext cx="3455987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>
                <a:solidFill>
                  <a:srgbClr val="0A1D64"/>
                </a:solidFill>
              </a:rPr>
              <a:t>Miejscowość</a:t>
            </a:r>
            <a:r>
              <a:rPr lang="en-US" dirty="0" smtClean="0">
                <a:solidFill>
                  <a:srgbClr val="0A1D64"/>
                </a:solidFill>
              </a:rPr>
              <a:t>, Data</a:t>
            </a:r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317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Slajd tytułow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3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528" y="3890202"/>
            <a:ext cx="8493770" cy="1254125"/>
          </a:xfrm>
        </p:spPr>
        <p:txBody>
          <a:bodyPr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</a:t>
            </a:r>
            <a:endParaRPr lang="en-US" noProof="0" dirty="0" smtClean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528" y="5229200"/>
            <a:ext cx="8496944" cy="792162"/>
          </a:xfrm>
        </p:spPr>
        <p:txBody>
          <a:bodyPr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 wzorca podtytułu</a:t>
            </a:r>
            <a:endParaRPr lang="en-US" noProof="0" dirty="0" smtClean="0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843213" y="6084738"/>
            <a:ext cx="3455987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>
                <a:solidFill>
                  <a:srgbClr val="0A1D64"/>
                </a:solidFill>
              </a:rPr>
              <a:t>Miejscowość</a:t>
            </a:r>
            <a:r>
              <a:rPr lang="en-US" dirty="0" smtClean="0">
                <a:solidFill>
                  <a:srgbClr val="0A1D64"/>
                </a:solidFill>
              </a:rPr>
              <a:t>, Data</a:t>
            </a:r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011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04800" y="1412776"/>
            <a:ext cx="8515672" cy="5040560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  <a:lvl2pPr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603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Prostokąt 5"/>
          <p:cNvSpPr/>
          <p:nvPr userDrawn="1"/>
        </p:nvSpPr>
        <p:spPr>
          <a:xfrm>
            <a:off x="0" y="1252603"/>
            <a:ext cx="3048000" cy="5344578"/>
          </a:xfrm>
          <a:prstGeom prst="rect">
            <a:avLst/>
          </a:prstGeom>
          <a:solidFill>
            <a:srgbClr val="0A1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273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Prostokąt 5"/>
          <p:cNvSpPr/>
          <p:nvPr userDrawn="1"/>
        </p:nvSpPr>
        <p:spPr>
          <a:xfrm>
            <a:off x="0" y="1252603"/>
            <a:ext cx="3048000" cy="5344578"/>
          </a:xfrm>
          <a:prstGeom prst="rect">
            <a:avLst/>
          </a:prstGeom>
          <a:pattFill prst="ltDnDiag">
            <a:fgClr>
              <a:srgbClr val="CDCFD0"/>
            </a:fgClr>
            <a:bgClr>
              <a:schemeClr val="tx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132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7" name="Prostokąt 6"/>
          <p:cNvSpPr/>
          <p:nvPr userDrawn="1"/>
        </p:nvSpPr>
        <p:spPr>
          <a:xfrm>
            <a:off x="2916238" y="1252603"/>
            <a:ext cx="131762" cy="5344578"/>
          </a:xfrm>
          <a:prstGeom prst="rect">
            <a:avLst/>
          </a:prstGeom>
          <a:pattFill prst="ltDnDiag">
            <a:fgClr>
              <a:srgbClr val="CDCFD0"/>
            </a:fgClr>
            <a:bgClr>
              <a:schemeClr val="tx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8793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Prostokąt 5"/>
          <p:cNvSpPr/>
          <p:nvPr userDrawn="1"/>
        </p:nvSpPr>
        <p:spPr>
          <a:xfrm>
            <a:off x="0" y="1252603"/>
            <a:ext cx="4572000" cy="5344578"/>
          </a:xfrm>
          <a:prstGeom prst="rect">
            <a:avLst/>
          </a:prstGeom>
          <a:solidFill>
            <a:srgbClr val="0A1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994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7" name="Prostokąt 6"/>
          <p:cNvSpPr/>
          <p:nvPr userDrawn="1"/>
        </p:nvSpPr>
        <p:spPr>
          <a:xfrm>
            <a:off x="0" y="1252603"/>
            <a:ext cx="4572000" cy="5344578"/>
          </a:xfrm>
          <a:prstGeom prst="rect">
            <a:avLst/>
          </a:prstGeom>
          <a:pattFill prst="ltDnDiag">
            <a:fgClr>
              <a:srgbClr val="CDCFD0"/>
            </a:fgClr>
            <a:bgClr>
              <a:schemeClr val="tx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775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Prostokąt 5"/>
          <p:cNvSpPr/>
          <p:nvPr userDrawn="1"/>
        </p:nvSpPr>
        <p:spPr>
          <a:xfrm>
            <a:off x="4506119" y="1252603"/>
            <a:ext cx="131762" cy="5344578"/>
          </a:xfrm>
          <a:prstGeom prst="rect">
            <a:avLst/>
          </a:prstGeom>
          <a:pattFill prst="dkDnDiag">
            <a:fgClr>
              <a:schemeClr val="tx1"/>
            </a:fgClr>
            <a:bgClr>
              <a:srgbClr val="CDCFD0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215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0" y="4406900"/>
            <a:ext cx="8515672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304800" y="2906713"/>
            <a:ext cx="8515672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8363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869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147520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304800" y="1412776"/>
            <a:ext cx="4195192" cy="5040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4008" y="1412776"/>
            <a:ext cx="4114750" cy="5040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2022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198783"/>
            <a:ext cx="7139136" cy="8655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4"/>
            <a:ext cx="4040188" cy="4278461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4"/>
            <a:ext cx="4041775" cy="4278461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10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473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7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6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7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601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3273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1460253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1435100"/>
            <a:ext cx="5111750" cy="5018236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2730104"/>
            <a:ext cx="3008313" cy="3723231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2443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14401" y="4800600"/>
            <a:ext cx="5486400" cy="566738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314401" y="1412775"/>
            <a:ext cx="5486400" cy="331479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l-PL" smtClean="0"/>
              <a:t>Kliknij ikonę, aby dodać obraz</a:t>
            </a:r>
            <a:endParaRPr lang="pl-PL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314401" y="5367338"/>
            <a:ext cx="5486400" cy="804862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276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147520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304800" y="1385366"/>
            <a:ext cx="8515672" cy="506797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424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7020272" y="1412776"/>
            <a:ext cx="1838325" cy="504056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304800" y="1412776"/>
            <a:ext cx="6643464" cy="504056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80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528" y="3890202"/>
            <a:ext cx="8493770" cy="1254125"/>
          </a:xfrm>
        </p:spPr>
        <p:txBody>
          <a:bodyPr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</a:t>
            </a:r>
            <a:endParaRPr lang="en-US" noProof="0" dirty="0" smtClean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528" y="5229200"/>
            <a:ext cx="8496944" cy="792162"/>
          </a:xfrm>
        </p:spPr>
        <p:txBody>
          <a:bodyPr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 wzorca podtytułu</a:t>
            </a:r>
            <a:endParaRPr lang="en-US" noProof="0" dirty="0" smtClean="0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843213" y="6084738"/>
            <a:ext cx="3455987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>
                <a:solidFill>
                  <a:srgbClr val="0A1D64"/>
                </a:solidFill>
              </a:rPr>
              <a:t>Miejscowość</a:t>
            </a:r>
            <a:r>
              <a:rPr lang="en-US" dirty="0" smtClean="0">
                <a:solidFill>
                  <a:srgbClr val="0A1D64"/>
                </a:solidFill>
              </a:rPr>
              <a:t>, Data</a:t>
            </a:r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479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Slajd tytułow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3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528" y="3890202"/>
            <a:ext cx="8493770" cy="1254125"/>
          </a:xfrm>
        </p:spPr>
        <p:txBody>
          <a:bodyPr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</a:t>
            </a:r>
            <a:endParaRPr lang="en-US" noProof="0" dirty="0" smtClean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528" y="5229200"/>
            <a:ext cx="8496944" cy="792162"/>
          </a:xfrm>
        </p:spPr>
        <p:txBody>
          <a:bodyPr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 wzorca podtytułu</a:t>
            </a:r>
            <a:endParaRPr lang="en-US" noProof="0" dirty="0" smtClean="0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843213" y="6084738"/>
            <a:ext cx="3455987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>
                <a:solidFill>
                  <a:srgbClr val="0A1D64"/>
                </a:solidFill>
              </a:rPr>
              <a:t>Miejscowość</a:t>
            </a:r>
            <a:r>
              <a:rPr lang="en-US" dirty="0" smtClean="0">
                <a:solidFill>
                  <a:srgbClr val="0A1D64"/>
                </a:solidFill>
              </a:rPr>
              <a:t>, Data</a:t>
            </a:r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227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1460253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1" y="1435100"/>
            <a:ext cx="5111750" cy="5018236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2730110"/>
            <a:ext cx="3008313" cy="3723231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534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Slajd tytułow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3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528" y="3890202"/>
            <a:ext cx="8493770" cy="1254125"/>
          </a:xfrm>
        </p:spPr>
        <p:txBody>
          <a:bodyPr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</a:t>
            </a:r>
            <a:endParaRPr lang="en-US" noProof="0" dirty="0" smtClean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528" y="5229200"/>
            <a:ext cx="8496944" cy="792162"/>
          </a:xfrm>
        </p:spPr>
        <p:txBody>
          <a:bodyPr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 wzorca podtytułu</a:t>
            </a:r>
            <a:endParaRPr lang="en-US" noProof="0" dirty="0" smtClean="0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843213" y="6084738"/>
            <a:ext cx="3455987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>
                <a:solidFill>
                  <a:srgbClr val="0A1D64"/>
                </a:solidFill>
              </a:rPr>
              <a:t>Miejscowość</a:t>
            </a:r>
            <a:r>
              <a:rPr lang="en-US" dirty="0" smtClean="0">
                <a:solidFill>
                  <a:srgbClr val="0A1D64"/>
                </a:solidFill>
              </a:rPr>
              <a:t>, Data</a:t>
            </a:r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092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04800" y="1412776"/>
            <a:ext cx="8515672" cy="5040560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  <a:lvl2pPr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2951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Prostokąt 5"/>
          <p:cNvSpPr/>
          <p:nvPr userDrawn="1"/>
        </p:nvSpPr>
        <p:spPr>
          <a:xfrm>
            <a:off x="0" y="1252603"/>
            <a:ext cx="3048000" cy="5344578"/>
          </a:xfrm>
          <a:prstGeom prst="rect">
            <a:avLst/>
          </a:prstGeom>
          <a:solidFill>
            <a:srgbClr val="0A1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4763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Prostokąt 5"/>
          <p:cNvSpPr/>
          <p:nvPr userDrawn="1"/>
        </p:nvSpPr>
        <p:spPr>
          <a:xfrm>
            <a:off x="0" y="1252603"/>
            <a:ext cx="3048000" cy="5344578"/>
          </a:xfrm>
          <a:prstGeom prst="rect">
            <a:avLst/>
          </a:prstGeom>
          <a:pattFill prst="ltDnDiag">
            <a:fgClr>
              <a:srgbClr val="CDCFD0"/>
            </a:fgClr>
            <a:bgClr>
              <a:schemeClr val="tx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7137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7" name="Prostokąt 6"/>
          <p:cNvSpPr/>
          <p:nvPr userDrawn="1"/>
        </p:nvSpPr>
        <p:spPr>
          <a:xfrm>
            <a:off x="2916238" y="1252603"/>
            <a:ext cx="131762" cy="5344578"/>
          </a:xfrm>
          <a:prstGeom prst="rect">
            <a:avLst/>
          </a:prstGeom>
          <a:pattFill prst="ltDnDiag">
            <a:fgClr>
              <a:srgbClr val="CDCFD0"/>
            </a:fgClr>
            <a:bgClr>
              <a:schemeClr val="tx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279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Prostokąt 5"/>
          <p:cNvSpPr/>
          <p:nvPr userDrawn="1"/>
        </p:nvSpPr>
        <p:spPr>
          <a:xfrm>
            <a:off x="0" y="1252603"/>
            <a:ext cx="4572000" cy="5344578"/>
          </a:xfrm>
          <a:prstGeom prst="rect">
            <a:avLst/>
          </a:prstGeom>
          <a:solidFill>
            <a:srgbClr val="0A1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436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7" name="Prostokąt 6"/>
          <p:cNvSpPr/>
          <p:nvPr userDrawn="1"/>
        </p:nvSpPr>
        <p:spPr>
          <a:xfrm>
            <a:off x="0" y="1252603"/>
            <a:ext cx="4572000" cy="5344578"/>
          </a:xfrm>
          <a:prstGeom prst="rect">
            <a:avLst/>
          </a:prstGeom>
          <a:pattFill prst="ltDnDiag">
            <a:fgClr>
              <a:srgbClr val="CDCFD0"/>
            </a:fgClr>
            <a:bgClr>
              <a:schemeClr val="tx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25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8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Prostokąt 5"/>
          <p:cNvSpPr/>
          <p:nvPr userDrawn="1"/>
        </p:nvSpPr>
        <p:spPr>
          <a:xfrm>
            <a:off x="4506119" y="1252603"/>
            <a:ext cx="131762" cy="5344578"/>
          </a:xfrm>
          <a:prstGeom prst="rect">
            <a:avLst/>
          </a:prstGeom>
          <a:pattFill prst="dkDnDiag">
            <a:fgClr>
              <a:schemeClr val="tx1"/>
            </a:fgClr>
            <a:bgClr>
              <a:srgbClr val="CDCFD0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00"/>
              </a:spcBef>
              <a:buClr>
                <a:srgbClr val="FF6309"/>
              </a:buClr>
              <a:defRPr/>
            </a:pPr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301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0" y="4406900"/>
            <a:ext cx="8515672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304800" y="2906713"/>
            <a:ext cx="8515672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307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147520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304800" y="1412776"/>
            <a:ext cx="4195192" cy="5040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4008" y="1412776"/>
            <a:ext cx="4114750" cy="50405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906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14401" y="4800600"/>
            <a:ext cx="5486400" cy="566738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314401" y="1412778"/>
            <a:ext cx="5486400" cy="331479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l-PL" smtClean="0"/>
              <a:t>Kliknij ikonę, aby dodać obraz</a:t>
            </a:r>
            <a:endParaRPr lang="pl-PL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314401" y="5367338"/>
            <a:ext cx="5486400" cy="804862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579BDD8-B327-4DD0-BB40-0563E43593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4591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198783"/>
            <a:ext cx="7139136" cy="8655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4"/>
            <a:ext cx="4040188" cy="4278461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4"/>
            <a:ext cx="4041775" cy="4278461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10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7352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225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219527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6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7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971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818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1460253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1435100"/>
            <a:ext cx="5111750" cy="5018236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defRPr sz="28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2730104"/>
            <a:ext cx="3008313" cy="3723231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641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14401" y="4800600"/>
            <a:ext cx="5486400" cy="566738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314401" y="1412775"/>
            <a:ext cx="5486400" cy="331479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l-PL" smtClean="0"/>
              <a:t>Kliknij ikonę, aby dodać obraz</a:t>
            </a:r>
            <a:endParaRPr lang="pl-PL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314401" y="5367338"/>
            <a:ext cx="5486400" cy="804862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8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694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04801" y="152400"/>
            <a:ext cx="7147520" cy="9413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304800" y="1385366"/>
            <a:ext cx="8515672" cy="506797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084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7020272" y="1412776"/>
            <a:ext cx="1838325" cy="504056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304800" y="1412776"/>
            <a:ext cx="6643464" cy="5040560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10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8917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ajd tytułow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528" y="3890202"/>
            <a:ext cx="8493770" cy="1254125"/>
          </a:xfrm>
        </p:spPr>
        <p:txBody>
          <a:bodyPr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</a:t>
            </a:r>
            <a:endParaRPr lang="en-US" noProof="0" dirty="0" smtClean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528" y="5229200"/>
            <a:ext cx="8496944" cy="792162"/>
          </a:xfrm>
        </p:spPr>
        <p:txBody>
          <a:bodyPr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 wzorca podtytułu</a:t>
            </a:r>
            <a:endParaRPr lang="en-US" noProof="0" dirty="0" smtClean="0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843213" y="6084738"/>
            <a:ext cx="3455987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>
                <a:solidFill>
                  <a:srgbClr val="0A1D64"/>
                </a:solidFill>
              </a:rPr>
              <a:t>Miejscowość</a:t>
            </a:r>
            <a:r>
              <a:rPr lang="en-US" dirty="0" smtClean="0">
                <a:solidFill>
                  <a:srgbClr val="0A1D64"/>
                </a:solidFill>
              </a:rPr>
              <a:t>, Data</a:t>
            </a:r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813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Slajd tytułow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3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528" y="3890202"/>
            <a:ext cx="8493770" cy="1254125"/>
          </a:xfrm>
        </p:spPr>
        <p:txBody>
          <a:bodyPr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</a:t>
            </a:r>
            <a:endParaRPr lang="en-US" noProof="0" dirty="0" smtClean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528" y="5229200"/>
            <a:ext cx="8496944" cy="792162"/>
          </a:xfrm>
        </p:spPr>
        <p:txBody>
          <a:bodyPr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 wzorca podtytułu</a:t>
            </a:r>
            <a:endParaRPr lang="en-US" noProof="0" dirty="0" smtClean="0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843213" y="6084738"/>
            <a:ext cx="3455987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>
                <a:solidFill>
                  <a:srgbClr val="0A1D64"/>
                </a:solidFill>
              </a:rPr>
              <a:t>Miejscowość</a:t>
            </a:r>
            <a:r>
              <a:rPr lang="en-US" dirty="0" smtClean="0">
                <a:solidFill>
                  <a:srgbClr val="0A1D64"/>
                </a:solidFill>
              </a:rPr>
              <a:t>, Data</a:t>
            </a:r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753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Slajd tytułow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3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23528" y="3890202"/>
            <a:ext cx="8493770" cy="1254125"/>
          </a:xfrm>
        </p:spPr>
        <p:txBody>
          <a:bodyPr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</a:t>
            </a:r>
            <a:endParaRPr lang="en-US" noProof="0" dirty="0" smtClean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23528" y="5229200"/>
            <a:ext cx="8496944" cy="792162"/>
          </a:xfrm>
        </p:spPr>
        <p:txBody>
          <a:bodyPr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noProof="0" smtClean="0"/>
              <a:t>Kliknij, aby edytować styl wzorca podtytułu</a:t>
            </a:r>
            <a:endParaRPr lang="en-US" noProof="0" dirty="0" smtClean="0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843213" y="6084738"/>
            <a:ext cx="3455987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>
                <a:solidFill>
                  <a:srgbClr val="0A1D64"/>
                </a:solidFill>
              </a:rPr>
              <a:t>Miejscowość</a:t>
            </a:r>
            <a:r>
              <a:rPr lang="en-US" dirty="0" smtClean="0">
                <a:solidFill>
                  <a:srgbClr val="0A1D64"/>
                </a:solidFill>
              </a:rPr>
              <a:t>, Data</a:t>
            </a:r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4997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17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vmlDrawing" Target="../drawings/vmlDrawing3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Relationship Id="rId9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2.bin"/><Relationship Id="rId5" Type="http://schemas.openxmlformats.org/officeDocument/2006/relationships/vmlDrawing" Target="../drawings/vmlDrawing2.vml"/><Relationship Id="rId4" Type="http://schemas.openxmlformats.org/officeDocument/2006/relationships/theme" Target="../theme/theme3.xml"/><Relationship Id="rId9" Type="http://schemas.openxmlformats.org/officeDocument/2006/relationships/image" Target="../media/image5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2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61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0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99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1" y="152400"/>
            <a:ext cx="7003504" cy="941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aby </a:t>
            </a:r>
            <a:r>
              <a:rPr lang="en-US" dirty="0" err="1" smtClean="0"/>
              <a:t>edytować</a:t>
            </a:r>
            <a:r>
              <a:rPr lang="en-US" dirty="0" smtClean="0"/>
              <a:t> </a:t>
            </a:r>
            <a:r>
              <a:rPr lang="en-US" dirty="0" err="1" smtClean="0"/>
              <a:t>styl</a:t>
            </a:r>
            <a:r>
              <a:rPr lang="en-US" dirty="0" smtClean="0"/>
              <a:t>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ytułu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412776"/>
            <a:ext cx="8515672" cy="499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aby </a:t>
            </a:r>
            <a:r>
              <a:rPr lang="en-US" dirty="0" err="1" smtClean="0"/>
              <a:t>edytować</a:t>
            </a:r>
            <a:r>
              <a:rPr lang="en-US" dirty="0" smtClean="0"/>
              <a:t> style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ekstu</a:t>
            </a:r>
            <a:endParaRPr lang="en-US" dirty="0" smtClean="0"/>
          </a:p>
          <a:p>
            <a:pPr lvl="1"/>
            <a:r>
              <a:rPr lang="en-US" dirty="0" err="1" smtClean="0"/>
              <a:t>Drug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2"/>
            <a:r>
              <a:rPr lang="en-US" dirty="0" err="1" smtClean="0"/>
              <a:t>Trzec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3"/>
            <a:r>
              <a:rPr lang="en-US" dirty="0" err="1" smtClean="0"/>
              <a:t>Czwar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4"/>
            <a:r>
              <a:rPr lang="en-US" dirty="0" err="1" smtClean="0"/>
              <a:t>Pią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</p:txBody>
      </p:sp>
      <p:sp>
        <p:nvSpPr>
          <p:cNvPr id="6" name="Prostokąt 5"/>
          <p:cNvSpPr/>
          <p:nvPr/>
        </p:nvSpPr>
        <p:spPr>
          <a:xfrm>
            <a:off x="0" y="6596906"/>
            <a:ext cx="9144000" cy="261094"/>
          </a:xfrm>
          <a:prstGeom prst="rect">
            <a:avLst/>
          </a:prstGeom>
          <a:solidFill>
            <a:srgbClr val="DA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3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702011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166688" indent="-16668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2400">
          <a:solidFill>
            <a:schemeClr val="bg1"/>
          </a:solidFill>
          <a:latin typeface="+mn-lt"/>
          <a:ea typeface="+mn-ea"/>
          <a:cs typeface="+mn-cs"/>
        </a:defRPr>
      </a:lvl1pPr>
      <a:lvl2pPr marL="527050" indent="-18097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2000">
          <a:solidFill>
            <a:schemeClr val="bg1"/>
          </a:solidFill>
          <a:latin typeface="+mn-lt"/>
        </a:defRPr>
      </a:lvl2pPr>
      <a:lvl3pPr marL="900113" indent="-19367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>
          <a:solidFill>
            <a:schemeClr val="bg1"/>
          </a:solidFill>
          <a:latin typeface="+mn-lt"/>
        </a:defRPr>
      </a:lvl3pPr>
      <a:lvl4pPr marL="1254125" indent="-17462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1600">
          <a:solidFill>
            <a:schemeClr val="bg1"/>
          </a:solidFill>
          <a:latin typeface="+mn-lt"/>
        </a:defRPr>
      </a:lvl4pPr>
      <a:lvl5pPr marL="16065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bg1"/>
          </a:solidFill>
          <a:latin typeface="+mn-lt"/>
        </a:defRPr>
      </a:lvl5pPr>
      <a:lvl6pPr marL="20637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5209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29781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4353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/>
        </p:nvGraphicFramePr>
        <p:xfrm>
          <a:off x="60325" y="6061075"/>
          <a:ext cx="9048750" cy="8032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4" name="CorelPhotoPaint.Image.11" r:id="rId15" imgW="9155556" imgH="812412" progId="">
                  <p:embed/>
                </p:oleObj>
              </mc:Choice>
              <mc:Fallback>
                <p:oleObj name="CorelPhotoPaint.Image.11" r:id="rId15" imgW="9155556" imgH="812412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325" y="6061075"/>
                        <a:ext cx="9048750" cy="8032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0000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C7049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6213" y="1544638"/>
            <a:ext cx="8691562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152" tIns="49576" rIns="99152" bIns="495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Click to edit Master text styles</a:t>
            </a:r>
          </a:p>
          <a:p>
            <a:pPr lvl="2"/>
            <a:r>
              <a:rPr lang="en-GB" smtClean="0"/>
              <a:t>Click to edit Master text styles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76213" y="531813"/>
            <a:ext cx="8689975" cy="557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152" tIns="49576" rIns="99152" bIns="495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32813" y="6581775"/>
            <a:ext cx="4159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236" tIns="48118" rIns="96236" bIns="48118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194173"/>
                </a:solidFill>
              </a:defRPr>
            </a:lvl1pPr>
          </a:lstStyle>
          <a:p>
            <a:pPr algn="ctr" eaLnBrk="0" hangingPunct="0"/>
            <a:fld id="{63363F9F-87F5-41EE-9FE2-2DE80EB59543}" type="slidenum">
              <a:rPr lang="en-GB"/>
              <a:pPr algn="ctr" eaLnBrk="0" hangingPunct="0"/>
              <a:t>‹#›</a:t>
            </a:fld>
            <a:endParaRPr lang="en-GB"/>
          </a:p>
        </p:txBody>
      </p:sp>
      <p:sp>
        <p:nvSpPr>
          <p:cNvPr id="30727" name="Line 7"/>
          <p:cNvSpPr>
            <a:spLocks noChangeShapeType="1"/>
          </p:cNvSpPr>
          <p:nvPr userDrawn="1"/>
        </p:nvSpPr>
        <p:spPr bwMode="auto">
          <a:xfrm>
            <a:off x="179388" y="765175"/>
            <a:ext cx="8713787" cy="0"/>
          </a:xfrm>
          <a:prstGeom prst="line">
            <a:avLst/>
          </a:prstGeom>
          <a:noFill/>
          <a:ln w="25400">
            <a:solidFill>
              <a:srgbClr val="FF6600"/>
            </a:solidFill>
            <a:round/>
            <a:headEnd/>
            <a:tailEnd/>
          </a:ln>
          <a:effectLst/>
        </p:spPr>
        <p:txBody>
          <a:bodyPr/>
          <a:lstStyle/>
          <a:p>
            <a:pPr algn="ctr" eaLnBrk="0" hangingPunct="0">
              <a:defRPr/>
            </a:pPr>
            <a:endParaRPr lang="pl-P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479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</p:sldLayoutIdLst>
  <p:transition/>
  <p:hf hdr="0" ftr="0" dt="0"/>
  <p:txStyles>
    <p:titleStyle>
      <a:lvl1pPr algn="l" defTabSz="1073150" rtl="0" eaLnBrk="0" fontAlgn="base" hangingPunct="0">
        <a:lnSpc>
          <a:spcPct val="98000"/>
        </a:lnSpc>
        <a:spcBef>
          <a:spcPct val="0"/>
        </a:spcBef>
        <a:spcAft>
          <a:spcPct val="0"/>
        </a:spcAft>
        <a:defRPr sz="2600" b="1">
          <a:solidFill>
            <a:srgbClr val="003C84"/>
          </a:solidFill>
          <a:latin typeface="+mj-lt"/>
          <a:ea typeface="+mj-ea"/>
          <a:cs typeface="+mj-cs"/>
        </a:defRPr>
      </a:lvl1pPr>
      <a:lvl2pPr algn="l" defTabSz="1073150" rtl="0" eaLnBrk="0" fontAlgn="base" hangingPunct="0">
        <a:lnSpc>
          <a:spcPct val="98000"/>
        </a:lnSpc>
        <a:spcBef>
          <a:spcPct val="0"/>
        </a:spcBef>
        <a:spcAft>
          <a:spcPct val="0"/>
        </a:spcAft>
        <a:defRPr sz="2600" b="1">
          <a:solidFill>
            <a:srgbClr val="003C84"/>
          </a:solidFill>
          <a:latin typeface="Arial" charset="0"/>
        </a:defRPr>
      </a:lvl2pPr>
      <a:lvl3pPr algn="l" defTabSz="1073150" rtl="0" eaLnBrk="0" fontAlgn="base" hangingPunct="0">
        <a:lnSpc>
          <a:spcPct val="98000"/>
        </a:lnSpc>
        <a:spcBef>
          <a:spcPct val="0"/>
        </a:spcBef>
        <a:spcAft>
          <a:spcPct val="0"/>
        </a:spcAft>
        <a:defRPr sz="2600" b="1">
          <a:solidFill>
            <a:srgbClr val="003C84"/>
          </a:solidFill>
          <a:latin typeface="Arial" charset="0"/>
        </a:defRPr>
      </a:lvl3pPr>
      <a:lvl4pPr algn="l" defTabSz="1073150" rtl="0" eaLnBrk="0" fontAlgn="base" hangingPunct="0">
        <a:lnSpc>
          <a:spcPct val="98000"/>
        </a:lnSpc>
        <a:spcBef>
          <a:spcPct val="0"/>
        </a:spcBef>
        <a:spcAft>
          <a:spcPct val="0"/>
        </a:spcAft>
        <a:defRPr sz="2600" b="1">
          <a:solidFill>
            <a:srgbClr val="003C84"/>
          </a:solidFill>
          <a:latin typeface="Arial" charset="0"/>
        </a:defRPr>
      </a:lvl4pPr>
      <a:lvl5pPr algn="l" defTabSz="1073150" rtl="0" eaLnBrk="0" fontAlgn="base" hangingPunct="0">
        <a:lnSpc>
          <a:spcPct val="98000"/>
        </a:lnSpc>
        <a:spcBef>
          <a:spcPct val="0"/>
        </a:spcBef>
        <a:spcAft>
          <a:spcPct val="0"/>
        </a:spcAft>
        <a:defRPr sz="2600" b="1">
          <a:solidFill>
            <a:srgbClr val="003C84"/>
          </a:solidFill>
          <a:latin typeface="Arial" charset="0"/>
        </a:defRPr>
      </a:lvl5pPr>
      <a:lvl6pPr marL="457200" algn="l" defTabSz="1073150" rtl="0" fontAlgn="base">
        <a:lnSpc>
          <a:spcPct val="98000"/>
        </a:lnSpc>
        <a:spcBef>
          <a:spcPct val="0"/>
        </a:spcBef>
        <a:spcAft>
          <a:spcPct val="0"/>
        </a:spcAft>
        <a:defRPr sz="2600" b="1">
          <a:solidFill>
            <a:srgbClr val="003C84"/>
          </a:solidFill>
          <a:latin typeface="Arial" charset="0"/>
        </a:defRPr>
      </a:lvl6pPr>
      <a:lvl7pPr marL="914400" algn="l" defTabSz="1073150" rtl="0" fontAlgn="base">
        <a:lnSpc>
          <a:spcPct val="98000"/>
        </a:lnSpc>
        <a:spcBef>
          <a:spcPct val="0"/>
        </a:spcBef>
        <a:spcAft>
          <a:spcPct val="0"/>
        </a:spcAft>
        <a:defRPr sz="2600" b="1">
          <a:solidFill>
            <a:srgbClr val="003C84"/>
          </a:solidFill>
          <a:latin typeface="Arial" charset="0"/>
        </a:defRPr>
      </a:lvl7pPr>
      <a:lvl8pPr marL="1371600" algn="l" defTabSz="1073150" rtl="0" fontAlgn="base">
        <a:lnSpc>
          <a:spcPct val="98000"/>
        </a:lnSpc>
        <a:spcBef>
          <a:spcPct val="0"/>
        </a:spcBef>
        <a:spcAft>
          <a:spcPct val="0"/>
        </a:spcAft>
        <a:defRPr sz="2600" b="1">
          <a:solidFill>
            <a:srgbClr val="003C84"/>
          </a:solidFill>
          <a:latin typeface="Arial" charset="0"/>
        </a:defRPr>
      </a:lvl8pPr>
      <a:lvl9pPr marL="1828800" algn="l" defTabSz="1073150" rtl="0" fontAlgn="base">
        <a:lnSpc>
          <a:spcPct val="98000"/>
        </a:lnSpc>
        <a:spcBef>
          <a:spcPct val="0"/>
        </a:spcBef>
        <a:spcAft>
          <a:spcPct val="0"/>
        </a:spcAft>
        <a:defRPr sz="2600" b="1">
          <a:solidFill>
            <a:srgbClr val="003C84"/>
          </a:solidFill>
          <a:latin typeface="Arial" charset="0"/>
        </a:defRPr>
      </a:lvl9pPr>
    </p:titleStyle>
    <p:bodyStyle>
      <a:lvl1pPr marL="219075" indent="-219075" algn="l" defTabSz="1073150" rtl="0" eaLnBrk="0" fontAlgn="base" hangingPunct="0">
        <a:lnSpc>
          <a:spcPct val="105000"/>
        </a:lnSpc>
        <a:spcBef>
          <a:spcPct val="78000"/>
        </a:spcBef>
        <a:spcAft>
          <a:spcPct val="0"/>
        </a:spcAft>
        <a:buClr>
          <a:srgbClr val="EF7D21"/>
        </a:buClr>
        <a:buFont typeface="Symbol" pitchFamily="18" charset="2"/>
        <a:buChar char="·"/>
        <a:defRPr b="1">
          <a:solidFill>
            <a:srgbClr val="003C84"/>
          </a:solidFill>
          <a:latin typeface="+mn-lt"/>
          <a:ea typeface="+mn-ea"/>
          <a:cs typeface="+mn-cs"/>
        </a:defRPr>
      </a:lvl1pPr>
      <a:lvl2pPr marL="419100" indent="-198438" algn="l" defTabSz="1073150" rtl="0" eaLnBrk="0" fontAlgn="base" hangingPunct="0">
        <a:spcBef>
          <a:spcPct val="39000"/>
        </a:spcBef>
        <a:spcAft>
          <a:spcPct val="0"/>
        </a:spcAft>
        <a:buClr>
          <a:srgbClr val="EF7D21"/>
        </a:buClr>
        <a:buChar char="–"/>
        <a:defRPr sz="1600" b="1">
          <a:solidFill>
            <a:srgbClr val="003C84"/>
          </a:solidFill>
          <a:latin typeface="+mn-lt"/>
        </a:defRPr>
      </a:lvl2pPr>
      <a:lvl3pPr marL="619125" indent="-198438" algn="l" defTabSz="1073150" rtl="0" eaLnBrk="0" fontAlgn="base" hangingPunct="0">
        <a:spcBef>
          <a:spcPct val="32000"/>
        </a:spcBef>
        <a:spcAft>
          <a:spcPct val="0"/>
        </a:spcAft>
        <a:buClr>
          <a:srgbClr val="EF7D21"/>
        </a:buClr>
        <a:buChar char="–"/>
        <a:defRPr sz="1400" b="1">
          <a:solidFill>
            <a:srgbClr val="003C84"/>
          </a:solidFill>
          <a:latin typeface="+mn-lt"/>
        </a:defRPr>
      </a:lvl3pPr>
      <a:lvl4pPr marL="2343150" indent="-247650" algn="l" defTabSz="1073150" rtl="0" eaLnBrk="0" fontAlgn="base" hangingPunct="0">
        <a:lnSpc>
          <a:spcPts val="1600"/>
        </a:lnSpc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Times New Roman" pitchFamily="18" charset="0"/>
        </a:defRPr>
      </a:lvl4pPr>
      <a:lvl5pPr marL="2771775" indent="-238125" algn="l" defTabSz="1073150" rtl="0" eaLnBrk="0" fontAlgn="base" hangingPunct="0">
        <a:lnSpc>
          <a:spcPts val="16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Times New Roman" pitchFamily="18" charset="0"/>
        </a:defRPr>
      </a:lvl5pPr>
      <a:lvl6pPr marL="3228975" indent="-238125" algn="l" defTabSz="1073150" rtl="0" fontAlgn="base">
        <a:lnSpc>
          <a:spcPts val="16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Times New Roman" pitchFamily="18" charset="0"/>
        </a:defRPr>
      </a:lvl6pPr>
      <a:lvl7pPr marL="3686175" indent="-238125" algn="l" defTabSz="1073150" rtl="0" fontAlgn="base">
        <a:lnSpc>
          <a:spcPts val="16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Times New Roman" pitchFamily="18" charset="0"/>
        </a:defRPr>
      </a:lvl7pPr>
      <a:lvl8pPr marL="4143375" indent="-238125" algn="l" defTabSz="1073150" rtl="0" fontAlgn="base">
        <a:lnSpc>
          <a:spcPts val="16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Times New Roman" pitchFamily="18" charset="0"/>
        </a:defRPr>
      </a:lvl8pPr>
      <a:lvl9pPr marL="4600575" indent="-238125" algn="l" defTabSz="1073150" rtl="0" fontAlgn="base">
        <a:lnSpc>
          <a:spcPts val="16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91935003"/>
              </p:ext>
            </p:extLst>
          </p:nvPr>
        </p:nvGraphicFramePr>
        <p:xfrm>
          <a:off x="60327" y="6061083"/>
          <a:ext cx="9048750" cy="8032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" name="CorelPhotoPaint.Image.11" r:id="rId6" imgW="9155556" imgH="812412" progId="">
                  <p:embed/>
                </p:oleObj>
              </mc:Choice>
              <mc:Fallback>
                <p:oleObj name="CorelPhotoPaint.Image.11" r:id="rId6" imgW="9155556" imgH="812412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327" y="6061083"/>
                        <a:ext cx="9048750" cy="8032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0000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C7049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317992" y="1088740"/>
            <a:ext cx="8507077" cy="0"/>
          </a:xfrm>
          <a:prstGeom prst="line">
            <a:avLst/>
          </a:prstGeom>
          <a:noFill/>
          <a:ln w="25400">
            <a:solidFill>
              <a:srgbClr val="FF6600"/>
            </a:solidFill>
            <a:round/>
            <a:headEnd/>
            <a:tailEnd/>
          </a:ln>
        </p:spPr>
        <p:txBody>
          <a:bodyPr lIns="91431" tIns="45715" rIns="91431" bIns="45715"/>
          <a:lstStyle/>
          <a:p>
            <a:endParaRPr lang="pl-PL" sz="9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8" name="Slide Number Placeholder 1"/>
          <p:cNvSpPr txBox="1">
            <a:spLocks/>
          </p:cNvSpPr>
          <p:nvPr/>
        </p:nvSpPr>
        <p:spPr>
          <a:xfrm>
            <a:off x="8177094" y="6543017"/>
            <a:ext cx="415925" cy="276225"/>
          </a:xfrm>
          <a:prstGeom prst="rect">
            <a:avLst/>
          </a:prstGeom>
        </p:spPr>
        <p:txBody>
          <a:bodyPr lIns="91431" tIns="45715" rIns="91431" bIns="45715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C956219F-8A7A-4625-8EB5-A4EAA0E7001E}" type="slidenum">
              <a:rPr lang="en-US" smtClean="0">
                <a:solidFill>
                  <a:srgbClr val="0A1D64"/>
                </a:solidFill>
              </a:rPr>
              <a:pPr algn="r">
                <a:defRPr/>
              </a:pPr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pic>
        <p:nvPicPr>
          <p:cNvPr id="7918" name="Obraz 3" descr="W:\PGNiG_szablony_word\papiery firmowe\naglowki i stopki\4.3.1 RGB stopka.png"/>
          <p:cNvPicPr>
            <a:picLocks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96" r="26995" b="85880"/>
          <a:stretch/>
        </p:blipFill>
        <p:spPr bwMode="auto">
          <a:xfrm>
            <a:off x="1415070" y="6433994"/>
            <a:ext cx="7709538" cy="122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19" name="Obraz 1" descr="W:\PGNiG_szablony_word\papiery firmowe\naglowki i stopki\4.3.1 RGB naglowek.pn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88" t="13581" r="37733" b="22458"/>
          <a:stretch/>
        </p:blipFill>
        <p:spPr bwMode="auto">
          <a:xfrm>
            <a:off x="246624" y="6101298"/>
            <a:ext cx="1030650" cy="711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231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transition/>
  <p:hf hdr="0" ftr="0" dt="0"/>
  <p:txStyles>
    <p:titleStyle>
      <a:lvl1pPr algn="l" defTabSz="1073041" rtl="0" eaLnBrk="0" fontAlgn="base" hangingPunct="0">
        <a:lnSpc>
          <a:spcPct val="98000"/>
        </a:lnSpc>
        <a:spcBef>
          <a:spcPct val="0"/>
        </a:spcBef>
        <a:spcAft>
          <a:spcPct val="0"/>
        </a:spcAft>
        <a:defRPr sz="2200" b="1">
          <a:solidFill>
            <a:srgbClr val="003C84"/>
          </a:solidFill>
          <a:effectLst>
            <a:outerShdw blurRad="38100" dist="38100" dir="2700000" algn="tl">
              <a:srgbClr val="C0C0C0"/>
            </a:outerShdw>
          </a:effectLst>
          <a:latin typeface="+mj-lt"/>
          <a:ea typeface="+mj-ea"/>
          <a:cs typeface="+mj-cs"/>
        </a:defRPr>
      </a:lvl1pPr>
      <a:lvl2pPr algn="l" defTabSz="1073041" rtl="0" eaLnBrk="0" fontAlgn="base" hangingPunct="0">
        <a:lnSpc>
          <a:spcPct val="98000"/>
        </a:lnSpc>
        <a:spcBef>
          <a:spcPct val="0"/>
        </a:spcBef>
        <a:spcAft>
          <a:spcPct val="0"/>
        </a:spcAft>
        <a:defRPr sz="2200" b="1">
          <a:solidFill>
            <a:srgbClr val="003C84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2pPr>
      <a:lvl3pPr algn="l" defTabSz="1073041" rtl="0" eaLnBrk="0" fontAlgn="base" hangingPunct="0">
        <a:lnSpc>
          <a:spcPct val="98000"/>
        </a:lnSpc>
        <a:spcBef>
          <a:spcPct val="0"/>
        </a:spcBef>
        <a:spcAft>
          <a:spcPct val="0"/>
        </a:spcAft>
        <a:defRPr sz="2200" b="1">
          <a:solidFill>
            <a:srgbClr val="003C84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3pPr>
      <a:lvl4pPr algn="l" defTabSz="1073041" rtl="0" eaLnBrk="0" fontAlgn="base" hangingPunct="0">
        <a:lnSpc>
          <a:spcPct val="98000"/>
        </a:lnSpc>
        <a:spcBef>
          <a:spcPct val="0"/>
        </a:spcBef>
        <a:spcAft>
          <a:spcPct val="0"/>
        </a:spcAft>
        <a:defRPr sz="2200" b="1">
          <a:solidFill>
            <a:srgbClr val="003C84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4pPr>
      <a:lvl5pPr algn="l" defTabSz="1073041" rtl="0" eaLnBrk="0" fontAlgn="base" hangingPunct="0">
        <a:lnSpc>
          <a:spcPct val="98000"/>
        </a:lnSpc>
        <a:spcBef>
          <a:spcPct val="0"/>
        </a:spcBef>
        <a:spcAft>
          <a:spcPct val="0"/>
        </a:spcAft>
        <a:defRPr sz="2200" b="1">
          <a:solidFill>
            <a:srgbClr val="003C84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5pPr>
      <a:lvl6pPr marL="457154" algn="l" defTabSz="1073041" rtl="0" fontAlgn="base">
        <a:lnSpc>
          <a:spcPct val="98000"/>
        </a:lnSpc>
        <a:spcBef>
          <a:spcPct val="0"/>
        </a:spcBef>
        <a:spcAft>
          <a:spcPct val="0"/>
        </a:spcAft>
        <a:defRPr sz="2600" b="1">
          <a:solidFill>
            <a:srgbClr val="003C84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6pPr>
      <a:lvl7pPr marL="914307" algn="l" defTabSz="1073041" rtl="0" fontAlgn="base">
        <a:lnSpc>
          <a:spcPct val="98000"/>
        </a:lnSpc>
        <a:spcBef>
          <a:spcPct val="0"/>
        </a:spcBef>
        <a:spcAft>
          <a:spcPct val="0"/>
        </a:spcAft>
        <a:defRPr sz="2600" b="1">
          <a:solidFill>
            <a:srgbClr val="003C84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7pPr>
      <a:lvl8pPr marL="1371461" algn="l" defTabSz="1073041" rtl="0" fontAlgn="base">
        <a:lnSpc>
          <a:spcPct val="98000"/>
        </a:lnSpc>
        <a:spcBef>
          <a:spcPct val="0"/>
        </a:spcBef>
        <a:spcAft>
          <a:spcPct val="0"/>
        </a:spcAft>
        <a:defRPr sz="2600" b="1">
          <a:solidFill>
            <a:srgbClr val="003C84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8pPr>
      <a:lvl9pPr marL="1828614" algn="l" defTabSz="1073041" rtl="0" fontAlgn="base">
        <a:lnSpc>
          <a:spcPct val="98000"/>
        </a:lnSpc>
        <a:spcBef>
          <a:spcPct val="0"/>
        </a:spcBef>
        <a:spcAft>
          <a:spcPct val="0"/>
        </a:spcAft>
        <a:defRPr sz="2600" b="1">
          <a:solidFill>
            <a:srgbClr val="003C84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9pPr>
    </p:titleStyle>
    <p:bodyStyle>
      <a:lvl1pPr marL="219052" indent="-219052" algn="l" defTabSz="1073041" rtl="0" eaLnBrk="0" fontAlgn="base" hangingPunct="0">
        <a:lnSpc>
          <a:spcPct val="105000"/>
        </a:lnSpc>
        <a:spcBef>
          <a:spcPct val="78000"/>
        </a:spcBef>
        <a:spcAft>
          <a:spcPct val="0"/>
        </a:spcAft>
        <a:buClr>
          <a:srgbClr val="EF7D21"/>
        </a:buClr>
        <a:buFont typeface="Wingdings" pitchFamily="2" charset="2"/>
        <a:buChar char="§"/>
        <a:defRPr b="1">
          <a:solidFill>
            <a:srgbClr val="003C84"/>
          </a:solidFill>
          <a:latin typeface="+mn-lt"/>
          <a:ea typeface="+mn-ea"/>
          <a:cs typeface="+mn-cs"/>
        </a:defRPr>
      </a:lvl1pPr>
      <a:lvl2pPr marL="419057" indent="-198418" algn="l" defTabSz="1073041" rtl="0" eaLnBrk="0" fontAlgn="base" hangingPunct="0">
        <a:spcBef>
          <a:spcPct val="39000"/>
        </a:spcBef>
        <a:spcAft>
          <a:spcPct val="0"/>
        </a:spcAft>
        <a:buClr>
          <a:srgbClr val="EF7D21"/>
        </a:buClr>
        <a:buFont typeface="Wingdings" pitchFamily="2" charset="2"/>
        <a:buChar char="§"/>
        <a:defRPr sz="1600" b="1">
          <a:solidFill>
            <a:srgbClr val="003C84"/>
          </a:solidFill>
          <a:latin typeface="+mn-lt"/>
        </a:defRPr>
      </a:lvl2pPr>
      <a:lvl3pPr marL="619062" indent="-198418" algn="l" defTabSz="1073041" rtl="0" eaLnBrk="0" fontAlgn="base" hangingPunct="0">
        <a:spcBef>
          <a:spcPct val="32000"/>
        </a:spcBef>
        <a:spcAft>
          <a:spcPct val="0"/>
        </a:spcAft>
        <a:buClr>
          <a:srgbClr val="EF7D21"/>
        </a:buClr>
        <a:buFont typeface="Wingdings" pitchFamily="2" charset="2"/>
        <a:buChar char="§"/>
        <a:defRPr sz="1400" b="1">
          <a:solidFill>
            <a:srgbClr val="003C84"/>
          </a:solidFill>
          <a:latin typeface="+mn-lt"/>
        </a:defRPr>
      </a:lvl3pPr>
      <a:lvl4pPr marL="2342912" indent="-247624" algn="l" defTabSz="1073041" rtl="0" eaLnBrk="0" fontAlgn="base" hangingPunct="0">
        <a:lnSpc>
          <a:spcPts val="1600"/>
        </a:lnSpc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Times New Roman" pitchFamily="18" charset="0"/>
        </a:defRPr>
      </a:lvl4pPr>
      <a:lvl5pPr marL="2771493" indent="-238101" algn="l" defTabSz="1073041" rtl="0" eaLnBrk="0" fontAlgn="base" hangingPunct="0">
        <a:lnSpc>
          <a:spcPts val="16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Times New Roman" pitchFamily="18" charset="0"/>
        </a:defRPr>
      </a:lvl5pPr>
      <a:lvl6pPr marL="3228646" indent="-238101" algn="l" defTabSz="1073041" rtl="0" fontAlgn="base">
        <a:lnSpc>
          <a:spcPts val="16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Times New Roman" pitchFamily="18" charset="0"/>
        </a:defRPr>
      </a:lvl6pPr>
      <a:lvl7pPr marL="3685799" indent="-238101" algn="l" defTabSz="1073041" rtl="0" fontAlgn="base">
        <a:lnSpc>
          <a:spcPts val="16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Times New Roman" pitchFamily="18" charset="0"/>
        </a:defRPr>
      </a:lvl7pPr>
      <a:lvl8pPr marL="4142953" indent="-238101" algn="l" defTabSz="1073041" rtl="0" fontAlgn="base">
        <a:lnSpc>
          <a:spcPts val="16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Times New Roman" pitchFamily="18" charset="0"/>
        </a:defRPr>
      </a:lvl8pPr>
      <a:lvl9pPr marL="4600106" indent="-238101" algn="l" defTabSz="1073041" rtl="0" fontAlgn="base">
        <a:lnSpc>
          <a:spcPts val="16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pl-PL"/>
      </a:defPPr>
      <a:lvl1pPr marL="0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7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1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4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8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1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4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7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95398267"/>
              </p:ext>
            </p:extLst>
          </p:nvPr>
        </p:nvGraphicFramePr>
        <p:xfrm>
          <a:off x="60327" y="6061079"/>
          <a:ext cx="9048750" cy="8032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0" name="CorelPhotoPaint.Image.11" r:id="rId6" imgW="9155556" imgH="812412" progId="">
                  <p:embed/>
                </p:oleObj>
              </mc:Choice>
              <mc:Fallback>
                <p:oleObj name="CorelPhotoPaint.Image.11" r:id="rId6" imgW="9155556" imgH="812412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327" y="6061079"/>
                        <a:ext cx="9048750" cy="8032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0000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C7049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317990" y="1088740"/>
            <a:ext cx="8507077" cy="0"/>
          </a:xfrm>
          <a:prstGeom prst="line">
            <a:avLst/>
          </a:prstGeom>
          <a:noFill/>
          <a:ln w="25400">
            <a:solidFill>
              <a:srgbClr val="FF6600"/>
            </a:solidFill>
            <a:round/>
            <a:headEnd/>
            <a:tailEnd/>
          </a:ln>
        </p:spPr>
        <p:txBody>
          <a:bodyPr lIns="91431" tIns="45715" rIns="91431" bIns="45715"/>
          <a:lstStyle/>
          <a:p>
            <a:endParaRPr lang="pl-PL" sz="90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8" name="Slide Number Placeholder 1"/>
          <p:cNvSpPr txBox="1">
            <a:spLocks/>
          </p:cNvSpPr>
          <p:nvPr/>
        </p:nvSpPr>
        <p:spPr>
          <a:xfrm>
            <a:off x="8177092" y="6543013"/>
            <a:ext cx="415925" cy="276225"/>
          </a:xfrm>
          <a:prstGeom prst="rect">
            <a:avLst/>
          </a:prstGeom>
        </p:spPr>
        <p:txBody>
          <a:bodyPr lIns="91431" tIns="45715" rIns="91431" bIns="45715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C956219F-8A7A-4625-8EB5-A4EAA0E7001E}" type="slidenum">
              <a:rPr lang="en-US" smtClean="0">
                <a:solidFill>
                  <a:srgbClr val="0A1D64"/>
                </a:solidFill>
              </a:rPr>
              <a:pPr algn="r">
                <a:defRPr/>
              </a:pPr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pic>
        <p:nvPicPr>
          <p:cNvPr id="7918" name="Obraz 3" descr="W:\PGNiG_szablony_word\papiery firmowe\naglowki i stopki\4.3.1 RGB stopka.png"/>
          <p:cNvPicPr>
            <a:picLocks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96" r="26995" b="85880"/>
          <a:stretch/>
        </p:blipFill>
        <p:spPr bwMode="auto">
          <a:xfrm>
            <a:off x="1415070" y="6433990"/>
            <a:ext cx="7709538" cy="122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19" name="Obraz 1" descr="W:\PGNiG_szablony_word\papiery firmowe\naglowki i stopki\4.3.1 RGB naglowek.pn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88" t="13581" r="37733" b="22458"/>
          <a:stretch/>
        </p:blipFill>
        <p:spPr bwMode="auto">
          <a:xfrm>
            <a:off x="246624" y="6101298"/>
            <a:ext cx="1030650" cy="711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4545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</p:sldLayoutIdLst>
  <p:transition/>
  <p:hf hdr="0" ftr="0" dt="0"/>
  <p:txStyles>
    <p:titleStyle>
      <a:lvl1pPr algn="l" defTabSz="1073041" rtl="0" eaLnBrk="0" fontAlgn="base" hangingPunct="0">
        <a:lnSpc>
          <a:spcPct val="98000"/>
        </a:lnSpc>
        <a:spcBef>
          <a:spcPct val="0"/>
        </a:spcBef>
        <a:spcAft>
          <a:spcPct val="0"/>
        </a:spcAft>
        <a:defRPr sz="2200" b="1">
          <a:solidFill>
            <a:srgbClr val="003C84"/>
          </a:solidFill>
          <a:effectLst>
            <a:outerShdw blurRad="38100" dist="38100" dir="2700000" algn="tl">
              <a:srgbClr val="C0C0C0"/>
            </a:outerShdw>
          </a:effectLst>
          <a:latin typeface="+mj-lt"/>
          <a:ea typeface="+mj-ea"/>
          <a:cs typeface="+mj-cs"/>
        </a:defRPr>
      </a:lvl1pPr>
      <a:lvl2pPr algn="l" defTabSz="1073041" rtl="0" eaLnBrk="0" fontAlgn="base" hangingPunct="0">
        <a:lnSpc>
          <a:spcPct val="98000"/>
        </a:lnSpc>
        <a:spcBef>
          <a:spcPct val="0"/>
        </a:spcBef>
        <a:spcAft>
          <a:spcPct val="0"/>
        </a:spcAft>
        <a:defRPr sz="2200" b="1">
          <a:solidFill>
            <a:srgbClr val="003C84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2pPr>
      <a:lvl3pPr algn="l" defTabSz="1073041" rtl="0" eaLnBrk="0" fontAlgn="base" hangingPunct="0">
        <a:lnSpc>
          <a:spcPct val="98000"/>
        </a:lnSpc>
        <a:spcBef>
          <a:spcPct val="0"/>
        </a:spcBef>
        <a:spcAft>
          <a:spcPct val="0"/>
        </a:spcAft>
        <a:defRPr sz="2200" b="1">
          <a:solidFill>
            <a:srgbClr val="003C84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3pPr>
      <a:lvl4pPr algn="l" defTabSz="1073041" rtl="0" eaLnBrk="0" fontAlgn="base" hangingPunct="0">
        <a:lnSpc>
          <a:spcPct val="98000"/>
        </a:lnSpc>
        <a:spcBef>
          <a:spcPct val="0"/>
        </a:spcBef>
        <a:spcAft>
          <a:spcPct val="0"/>
        </a:spcAft>
        <a:defRPr sz="2200" b="1">
          <a:solidFill>
            <a:srgbClr val="003C84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4pPr>
      <a:lvl5pPr algn="l" defTabSz="1073041" rtl="0" eaLnBrk="0" fontAlgn="base" hangingPunct="0">
        <a:lnSpc>
          <a:spcPct val="98000"/>
        </a:lnSpc>
        <a:spcBef>
          <a:spcPct val="0"/>
        </a:spcBef>
        <a:spcAft>
          <a:spcPct val="0"/>
        </a:spcAft>
        <a:defRPr sz="2200" b="1">
          <a:solidFill>
            <a:srgbClr val="003C84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5pPr>
      <a:lvl6pPr marL="457154" algn="l" defTabSz="1073041" rtl="0" fontAlgn="base">
        <a:lnSpc>
          <a:spcPct val="98000"/>
        </a:lnSpc>
        <a:spcBef>
          <a:spcPct val="0"/>
        </a:spcBef>
        <a:spcAft>
          <a:spcPct val="0"/>
        </a:spcAft>
        <a:defRPr sz="2600" b="1">
          <a:solidFill>
            <a:srgbClr val="003C84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6pPr>
      <a:lvl7pPr marL="914307" algn="l" defTabSz="1073041" rtl="0" fontAlgn="base">
        <a:lnSpc>
          <a:spcPct val="98000"/>
        </a:lnSpc>
        <a:spcBef>
          <a:spcPct val="0"/>
        </a:spcBef>
        <a:spcAft>
          <a:spcPct val="0"/>
        </a:spcAft>
        <a:defRPr sz="2600" b="1">
          <a:solidFill>
            <a:srgbClr val="003C84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7pPr>
      <a:lvl8pPr marL="1371461" algn="l" defTabSz="1073041" rtl="0" fontAlgn="base">
        <a:lnSpc>
          <a:spcPct val="98000"/>
        </a:lnSpc>
        <a:spcBef>
          <a:spcPct val="0"/>
        </a:spcBef>
        <a:spcAft>
          <a:spcPct val="0"/>
        </a:spcAft>
        <a:defRPr sz="2600" b="1">
          <a:solidFill>
            <a:srgbClr val="003C84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8pPr>
      <a:lvl9pPr marL="1828614" algn="l" defTabSz="1073041" rtl="0" fontAlgn="base">
        <a:lnSpc>
          <a:spcPct val="98000"/>
        </a:lnSpc>
        <a:spcBef>
          <a:spcPct val="0"/>
        </a:spcBef>
        <a:spcAft>
          <a:spcPct val="0"/>
        </a:spcAft>
        <a:defRPr sz="2600" b="1">
          <a:solidFill>
            <a:srgbClr val="003C84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9pPr>
    </p:titleStyle>
    <p:bodyStyle>
      <a:lvl1pPr marL="219052" indent="-219052" algn="l" defTabSz="1073041" rtl="0" eaLnBrk="0" fontAlgn="base" hangingPunct="0">
        <a:lnSpc>
          <a:spcPct val="105000"/>
        </a:lnSpc>
        <a:spcBef>
          <a:spcPct val="78000"/>
        </a:spcBef>
        <a:spcAft>
          <a:spcPct val="0"/>
        </a:spcAft>
        <a:buClr>
          <a:srgbClr val="EF7D21"/>
        </a:buClr>
        <a:buFont typeface="Wingdings" pitchFamily="2" charset="2"/>
        <a:buChar char="§"/>
        <a:defRPr b="1">
          <a:solidFill>
            <a:srgbClr val="003C84"/>
          </a:solidFill>
          <a:latin typeface="+mn-lt"/>
          <a:ea typeface="+mn-ea"/>
          <a:cs typeface="+mn-cs"/>
        </a:defRPr>
      </a:lvl1pPr>
      <a:lvl2pPr marL="419057" indent="-198418" algn="l" defTabSz="1073041" rtl="0" eaLnBrk="0" fontAlgn="base" hangingPunct="0">
        <a:spcBef>
          <a:spcPct val="39000"/>
        </a:spcBef>
        <a:spcAft>
          <a:spcPct val="0"/>
        </a:spcAft>
        <a:buClr>
          <a:srgbClr val="EF7D21"/>
        </a:buClr>
        <a:buFont typeface="Wingdings" pitchFamily="2" charset="2"/>
        <a:buChar char="§"/>
        <a:defRPr sz="1600" b="1">
          <a:solidFill>
            <a:srgbClr val="003C84"/>
          </a:solidFill>
          <a:latin typeface="+mn-lt"/>
        </a:defRPr>
      </a:lvl2pPr>
      <a:lvl3pPr marL="619062" indent="-198418" algn="l" defTabSz="1073041" rtl="0" eaLnBrk="0" fontAlgn="base" hangingPunct="0">
        <a:spcBef>
          <a:spcPct val="32000"/>
        </a:spcBef>
        <a:spcAft>
          <a:spcPct val="0"/>
        </a:spcAft>
        <a:buClr>
          <a:srgbClr val="EF7D21"/>
        </a:buClr>
        <a:buFont typeface="Wingdings" pitchFamily="2" charset="2"/>
        <a:buChar char="§"/>
        <a:defRPr sz="1400" b="1">
          <a:solidFill>
            <a:srgbClr val="003C84"/>
          </a:solidFill>
          <a:latin typeface="+mn-lt"/>
        </a:defRPr>
      </a:lvl3pPr>
      <a:lvl4pPr marL="2342912" indent="-247624" algn="l" defTabSz="1073041" rtl="0" eaLnBrk="0" fontAlgn="base" hangingPunct="0">
        <a:lnSpc>
          <a:spcPts val="1600"/>
        </a:lnSpc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Times New Roman" pitchFamily="18" charset="0"/>
        </a:defRPr>
      </a:lvl4pPr>
      <a:lvl5pPr marL="2771493" indent="-238101" algn="l" defTabSz="1073041" rtl="0" eaLnBrk="0" fontAlgn="base" hangingPunct="0">
        <a:lnSpc>
          <a:spcPts val="16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Times New Roman" pitchFamily="18" charset="0"/>
        </a:defRPr>
      </a:lvl5pPr>
      <a:lvl6pPr marL="3228646" indent="-238101" algn="l" defTabSz="1073041" rtl="0" fontAlgn="base">
        <a:lnSpc>
          <a:spcPts val="16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Times New Roman" pitchFamily="18" charset="0"/>
        </a:defRPr>
      </a:lvl6pPr>
      <a:lvl7pPr marL="3685799" indent="-238101" algn="l" defTabSz="1073041" rtl="0" fontAlgn="base">
        <a:lnSpc>
          <a:spcPts val="16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Times New Roman" pitchFamily="18" charset="0"/>
        </a:defRPr>
      </a:lvl7pPr>
      <a:lvl8pPr marL="4142953" indent="-238101" algn="l" defTabSz="1073041" rtl="0" fontAlgn="base">
        <a:lnSpc>
          <a:spcPts val="16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Times New Roman" pitchFamily="18" charset="0"/>
        </a:defRPr>
      </a:lvl8pPr>
      <a:lvl9pPr marL="4600106" indent="-238101" algn="l" defTabSz="1073041" rtl="0" fontAlgn="base">
        <a:lnSpc>
          <a:spcPts val="1600"/>
        </a:lnSpc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pl-PL"/>
      </a:defPPr>
      <a:lvl1pPr marL="0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7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1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4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8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1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4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7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1" y="152400"/>
            <a:ext cx="7003504" cy="941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aby </a:t>
            </a:r>
            <a:r>
              <a:rPr lang="en-US" dirty="0" err="1" smtClean="0"/>
              <a:t>edytować</a:t>
            </a:r>
            <a:r>
              <a:rPr lang="en-US" dirty="0" smtClean="0"/>
              <a:t> </a:t>
            </a:r>
            <a:r>
              <a:rPr lang="en-US" dirty="0" err="1" smtClean="0"/>
              <a:t>styl</a:t>
            </a:r>
            <a:r>
              <a:rPr lang="en-US" dirty="0" smtClean="0"/>
              <a:t>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ytułu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412776"/>
            <a:ext cx="8515672" cy="499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aby </a:t>
            </a:r>
            <a:r>
              <a:rPr lang="en-US" dirty="0" err="1" smtClean="0"/>
              <a:t>edytować</a:t>
            </a:r>
            <a:r>
              <a:rPr lang="en-US" dirty="0" smtClean="0"/>
              <a:t> style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ekstu</a:t>
            </a:r>
            <a:endParaRPr lang="en-US" dirty="0" smtClean="0"/>
          </a:p>
          <a:p>
            <a:pPr lvl="1"/>
            <a:r>
              <a:rPr lang="en-US" dirty="0" err="1" smtClean="0"/>
              <a:t>Drug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2"/>
            <a:r>
              <a:rPr lang="en-US" dirty="0" err="1" smtClean="0"/>
              <a:t>Trzec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3"/>
            <a:r>
              <a:rPr lang="en-US" dirty="0" err="1" smtClean="0"/>
              <a:t>Czwar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4"/>
            <a:r>
              <a:rPr lang="en-US" dirty="0" err="1" smtClean="0"/>
              <a:t>Pią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</p:txBody>
      </p:sp>
      <p:sp>
        <p:nvSpPr>
          <p:cNvPr id="6" name="Prostokąt 5"/>
          <p:cNvSpPr/>
          <p:nvPr userDrawn="1"/>
        </p:nvSpPr>
        <p:spPr>
          <a:xfrm>
            <a:off x="0" y="6596906"/>
            <a:ext cx="9144000" cy="261094"/>
          </a:xfrm>
          <a:prstGeom prst="rect">
            <a:avLst/>
          </a:prstGeom>
          <a:solidFill>
            <a:srgbClr val="DA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3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880147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166688" indent="-166688" algn="l" rtl="0" fontAlgn="base">
        <a:spcBef>
          <a:spcPct val="20000"/>
        </a:spcBef>
        <a:spcAft>
          <a:spcPct val="5000"/>
        </a:spcAft>
        <a:buClr>
          <a:schemeClr val="accent1"/>
        </a:buClr>
        <a:buChar char="•"/>
        <a:defRPr sz="2400">
          <a:solidFill>
            <a:schemeClr val="bg1"/>
          </a:solidFill>
          <a:latin typeface="+mn-lt"/>
          <a:ea typeface="+mn-ea"/>
          <a:cs typeface="+mn-cs"/>
        </a:defRPr>
      </a:lvl1pPr>
      <a:lvl2pPr marL="527050" indent="-180975" algn="l" rtl="0" fontAlgn="base">
        <a:spcBef>
          <a:spcPct val="20000"/>
        </a:spcBef>
        <a:spcAft>
          <a:spcPct val="5000"/>
        </a:spcAft>
        <a:buClr>
          <a:schemeClr val="accent1"/>
        </a:buClr>
        <a:buChar char="•"/>
        <a:defRPr sz="2000">
          <a:solidFill>
            <a:schemeClr val="bg1"/>
          </a:solidFill>
          <a:latin typeface="+mn-lt"/>
        </a:defRPr>
      </a:lvl2pPr>
      <a:lvl3pPr marL="900113" indent="-193675" algn="l" rtl="0" fontAlgn="base">
        <a:spcBef>
          <a:spcPct val="20000"/>
        </a:spcBef>
        <a:spcAft>
          <a:spcPct val="5000"/>
        </a:spcAft>
        <a:buClr>
          <a:schemeClr val="accent1"/>
        </a:buClr>
        <a:buChar char="•"/>
        <a:defRPr>
          <a:solidFill>
            <a:schemeClr val="bg1"/>
          </a:solidFill>
          <a:latin typeface="+mn-lt"/>
        </a:defRPr>
      </a:lvl3pPr>
      <a:lvl4pPr marL="1254125" indent="-174625" algn="l" rtl="0" fontAlgn="base">
        <a:spcBef>
          <a:spcPct val="20000"/>
        </a:spcBef>
        <a:spcAft>
          <a:spcPct val="5000"/>
        </a:spcAft>
        <a:buClr>
          <a:schemeClr val="accent1"/>
        </a:buClr>
        <a:buChar char="•"/>
        <a:defRPr sz="1600">
          <a:solidFill>
            <a:schemeClr val="bg1"/>
          </a:solidFill>
          <a:latin typeface="+mn-lt"/>
        </a:defRPr>
      </a:lvl4pPr>
      <a:lvl5pPr marL="1606550" indent="-173038" algn="l" rtl="0" fontAlgn="base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bg1"/>
          </a:solidFill>
          <a:latin typeface="+mn-lt"/>
        </a:defRPr>
      </a:lvl5pPr>
      <a:lvl6pPr marL="2063750" indent="-173038" algn="l" rtl="0" fontAlgn="base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520950" indent="-173038" algn="l" rtl="0" fontAlgn="base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2978150" indent="-173038" algn="l" rtl="0" fontAlgn="base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435350" indent="-173038" algn="l" rtl="0" fontAlgn="base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rostokąt 8"/>
          <p:cNvSpPr/>
          <p:nvPr/>
        </p:nvSpPr>
        <p:spPr>
          <a:xfrm>
            <a:off x="0" y="0"/>
            <a:ext cx="9144000" cy="12395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rgbClr val="FFFFFF"/>
              </a:solidFill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1" y="152400"/>
            <a:ext cx="7003504" cy="941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aby </a:t>
            </a:r>
            <a:r>
              <a:rPr lang="en-US" dirty="0" err="1" smtClean="0"/>
              <a:t>edytować</a:t>
            </a:r>
            <a:r>
              <a:rPr lang="en-US" dirty="0" smtClean="0"/>
              <a:t> </a:t>
            </a:r>
            <a:r>
              <a:rPr lang="en-US" dirty="0" err="1" smtClean="0"/>
              <a:t>styl</a:t>
            </a:r>
            <a:r>
              <a:rPr lang="en-US" dirty="0" smtClean="0"/>
              <a:t>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ytułu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412776"/>
            <a:ext cx="8515672" cy="499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aby </a:t>
            </a:r>
            <a:r>
              <a:rPr lang="en-US" dirty="0" err="1" smtClean="0"/>
              <a:t>edytować</a:t>
            </a:r>
            <a:r>
              <a:rPr lang="en-US" dirty="0" smtClean="0"/>
              <a:t> style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ekstu</a:t>
            </a:r>
            <a:endParaRPr lang="en-US" dirty="0" smtClean="0"/>
          </a:p>
          <a:p>
            <a:pPr lvl="1"/>
            <a:r>
              <a:rPr lang="en-US" dirty="0" err="1" smtClean="0"/>
              <a:t>Drug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2"/>
            <a:r>
              <a:rPr lang="en-US" dirty="0" err="1" smtClean="0"/>
              <a:t>Trzec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3"/>
            <a:r>
              <a:rPr lang="en-US" dirty="0" err="1" smtClean="0"/>
              <a:t>Czwar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4"/>
            <a:r>
              <a:rPr lang="en-US" dirty="0" err="1" smtClean="0"/>
              <a:t>Pią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</p:txBody>
      </p:sp>
      <p:sp>
        <p:nvSpPr>
          <p:cNvPr id="6" name="Prostokąt 5"/>
          <p:cNvSpPr/>
          <p:nvPr/>
        </p:nvSpPr>
        <p:spPr>
          <a:xfrm>
            <a:off x="0" y="6596906"/>
            <a:ext cx="9144000" cy="261094"/>
          </a:xfrm>
          <a:prstGeom prst="rect">
            <a:avLst/>
          </a:prstGeom>
          <a:solidFill>
            <a:srgbClr val="DA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3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pic>
        <p:nvPicPr>
          <p:cNvPr id="10" name="Picture 2" descr="C:\Users\Kuba\Documents\PRACA\PGNiG\10lat\Logotyp\PNG\kolory manual\10 Lat PGNiG Logotyp-04 copyD.png"/>
          <p:cNvPicPr>
            <a:picLocks noChangeAspect="1" noChangeArrowheads="1"/>
          </p:cNvPicPr>
          <p:nvPr/>
        </p:nvPicPr>
        <p:blipFill>
          <a:blip r:embed="rId13" cstate="print"/>
          <a:srcRect b="37357"/>
          <a:stretch>
            <a:fillRect/>
          </a:stretch>
        </p:blipFill>
        <p:spPr bwMode="auto">
          <a:xfrm>
            <a:off x="7695139" y="254298"/>
            <a:ext cx="1165591" cy="6591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6712700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166688" indent="-16668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2400">
          <a:solidFill>
            <a:schemeClr val="bg1"/>
          </a:solidFill>
          <a:latin typeface="+mn-lt"/>
          <a:ea typeface="+mn-ea"/>
          <a:cs typeface="+mn-cs"/>
        </a:defRPr>
      </a:lvl1pPr>
      <a:lvl2pPr marL="527050" indent="-18097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2000">
          <a:solidFill>
            <a:schemeClr val="bg1"/>
          </a:solidFill>
          <a:latin typeface="+mn-lt"/>
        </a:defRPr>
      </a:lvl2pPr>
      <a:lvl3pPr marL="900113" indent="-19367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>
          <a:solidFill>
            <a:schemeClr val="bg1"/>
          </a:solidFill>
          <a:latin typeface="+mn-lt"/>
        </a:defRPr>
      </a:lvl3pPr>
      <a:lvl4pPr marL="1254125" indent="-17462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1600">
          <a:solidFill>
            <a:schemeClr val="bg1"/>
          </a:solidFill>
          <a:latin typeface="+mn-lt"/>
        </a:defRPr>
      </a:lvl4pPr>
      <a:lvl5pPr marL="16065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bg1"/>
          </a:solidFill>
          <a:latin typeface="+mn-lt"/>
        </a:defRPr>
      </a:lvl5pPr>
      <a:lvl6pPr marL="20637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5209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29781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4353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rostokąt 8"/>
          <p:cNvSpPr/>
          <p:nvPr/>
        </p:nvSpPr>
        <p:spPr>
          <a:xfrm>
            <a:off x="0" y="6596907"/>
            <a:ext cx="9144000" cy="261094"/>
          </a:xfrm>
          <a:prstGeom prst="rect">
            <a:avLst/>
          </a:prstGeom>
          <a:solidFill>
            <a:srgbClr val="CDCF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0" y="0"/>
            <a:ext cx="9144000" cy="1251857"/>
          </a:xfrm>
          <a:prstGeom prst="rect">
            <a:avLst/>
          </a:prstGeom>
          <a:solidFill>
            <a:srgbClr val="CDCF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1" y="152400"/>
            <a:ext cx="7003504" cy="941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aby </a:t>
            </a:r>
            <a:r>
              <a:rPr lang="en-US" dirty="0" err="1" smtClean="0"/>
              <a:t>edytować</a:t>
            </a:r>
            <a:r>
              <a:rPr lang="en-US" dirty="0" smtClean="0"/>
              <a:t> </a:t>
            </a:r>
            <a:r>
              <a:rPr lang="en-US" dirty="0" err="1" smtClean="0"/>
              <a:t>styl</a:t>
            </a:r>
            <a:r>
              <a:rPr lang="en-US" dirty="0" smtClean="0"/>
              <a:t>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ytułu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412776"/>
            <a:ext cx="8515672" cy="499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aby </a:t>
            </a:r>
            <a:r>
              <a:rPr lang="en-US" dirty="0" err="1" smtClean="0"/>
              <a:t>edytować</a:t>
            </a:r>
            <a:r>
              <a:rPr lang="en-US" dirty="0" smtClean="0"/>
              <a:t> style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ekstu</a:t>
            </a:r>
            <a:endParaRPr lang="en-US" dirty="0" smtClean="0"/>
          </a:p>
          <a:p>
            <a:pPr lvl="1"/>
            <a:r>
              <a:rPr lang="en-US" dirty="0" err="1" smtClean="0"/>
              <a:t>Drug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2"/>
            <a:r>
              <a:rPr lang="en-US" dirty="0" err="1" smtClean="0"/>
              <a:t>Trzec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3"/>
            <a:r>
              <a:rPr lang="en-US" dirty="0" err="1" smtClean="0"/>
              <a:t>Czwar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4"/>
            <a:r>
              <a:rPr lang="en-US" dirty="0" err="1" smtClean="0"/>
              <a:t>Pią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</p:txBody>
      </p:sp>
      <p:sp>
        <p:nvSpPr>
          <p:cNvPr id="6" name="Prostokąt 5"/>
          <p:cNvSpPr/>
          <p:nvPr/>
        </p:nvSpPr>
        <p:spPr>
          <a:xfrm>
            <a:off x="0" y="6596906"/>
            <a:ext cx="9144000" cy="261094"/>
          </a:xfrm>
          <a:prstGeom prst="rect">
            <a:avLst/>
          </a:prstGeom>
          <a:solidFill>
            <a:srgbClr val="DA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3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067" y="151862"/>
            <a:ext cx="1170271" cy="906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83224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166688" indent="-16668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2400">
          <a:solidFill>
            <a:schemeClr val="bg1"/>
          </a:solidFill>
          <a:latin typeface="+mn-lt"/>
          <a:ea typeface="+mn-ea"/>
          <a:cs typeface="+mn-cs"/>
        </a:defRPr>
      </a:lvl1pPr>
      <a:lvl2pPr marL="527050" indent="-18097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2000">
          <a:solidFill>
            <a:schemeClr val="bg1"/>
          </a:solidFill>
          <a:latin typeface="+mn-lt"/>
        </a:defRPr>
      </a:lvl2pPr>
      <a:lvl3pPr marL="900113" indent="-19367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>
          <a:solidFill>
            <a:schemeClr val="bg1"/>
          </a:solidFill>
          <a:latin typeface="+mn-lt"/>
        </a:defRPr>
      </a:lvl3pPr>
      <a:lvl4pPr marL="1254125" indent="-17462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1600">
          <a:solidFill>
            <a:schemeClr val="bg1"/>
          </a:solidFill>
          <a:latin typeface="+mn-lt"/>
        </a:defRPr>
      </a:lvl4pPr>
      <a:lvl5pPr marL="16065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bg1"/>
          </a:solidFill>
          <a:latin typeface="+mn-lt"/>
        </a:defRPr>
      </a:lvl5pPr>
      <a:lvl6pPr marL="20637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5209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29781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4353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rostokąt 8"/>
          <p:cNvSpPr/>
          <p:nvPr/>
        </p:nvSpPr>
        <p:spPr>
          <a:xfrm>
            <a:off x="0" y="6596907"/>
            <a:ext cx="9144000" cy="261094"/>
          </a:xfrm>
          <a:prstGeom prst="rect">
            <a:avLst/>
          </a:prstGeom>
          <a:solidFill>
            <a:srgbClr val="CDCF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0" y="0"/>
            <a:ext cx="9144000" cy="1251857"/>
          </a:xfrm>
          <a:prstGeom prst="rect">
            <a:avLst/>
          </a:prstGeom>
          <a:solidFill>
            <a:srgbClr val="CDCF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1" y="152400"/>
            <a:ext cx="7003504" cy="941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aby </a:t>
            </a:r>
            <a:r>
              <a:rPr lang="en-US" dirty="0" err="1" smtClean="0"/>
              <a:t>edytować</a:t>
            </a:r>
            <a:r>
              <a:rPr lang="en-US" dirty="0" smtClean="0"/>
              <a:t> </a:t>
            </a:r>
            <a:r>
              <a:rPr lang="en-US" dirty="0" err="1" smtClean="0"/>
              <a:t>styl</a:t>
            </a:r>
            <a:r>
              <a:rPr lang="en-US" dirty="0" smtClean="0"/>
              <a:t>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ytułu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412776"/>
            <a:ext cx="8515672" cy="499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aby </a:t>
            </a:r>
            <a:r>
              <a:rPr lang="en-US" dirty="0" err="1" smtClean="0"/>
              <a:t>edytować</a:t>
            </a:r>
            <a:r>
              <a:rPr lang="en-US" dirty="0" smtClean="0"/>
              <a:t> style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ekstu</a:t>
            </a:r>
            <a:endParaRPr lang="en-US" dirty="0" smtClean="0"/>
          </a:p>
          <a:p>
            <a:pPr lvl="1"/>
            <a:r>
              <a:rPr lang="en-US" dirty="0" err="1" smtClean="0"/>
              <a:t>Drug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2"/>
            <a:r>
              <a:rPr lang="en-US" dirty="0" err="1" smtClean="0"/>
              <a:t>Trzec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3"/>
            <a:r>
              <a:rPr lang="en-US" dirty="0" err="1" smtClean="0"/>
              <a:t>Czwar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4"/>
            <a:r>
              <a:rPr lang="en-US" dirty="0" err="1" smtClean="0"/>
              <a:t>Pią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</p:txBody>
      </p:sp>
      <p:sp>
        <p:nvSpPr>
          <p:cNvPr id="6" name="Prostokąt 5"/>
          <p:cNvSpPr/>
          <p:nvPr/>
        </p:nvSpPr>
        <p:spPr>
          <a:xfrm>
            <a:off x="0" y="6596906"/>
            <a:ext cx="9144000" cy="261094"/>
          </a:xfrm>
          <a:prstGeom prst="rect">
            <a:avLst/>
          </a:prstGeom>
          <a:solidFill>
            <a:srgbClr val="DA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3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067" y="151862"/>
            <a:ext cx="1170271" cy="906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49414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43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166688" indent="-16668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2400">
          <a:solidFill>
            <a:schemeClr val="bg1"/>
          </a:solidFill>
          <a:latin typeface="+mn-lt"/>
          <a:ea typeface="+mn-ea"/>
          <a:cs typeface="+mn-cs"/>
        </a:defRPr>
      </a:lvl1pPr>
      <a:lvl2pPr marL="527050" indent="-18097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2000">
          <a:solidFill>
            <a:schemeClr val="bg1"/>
          </a:solidFill>
          <a:latin typeface="+mn-lt"/>
        </a:defRPr>
      </a:lvl2pPr>
      <a:lvl3pPr marL="900113" indent="-19367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>
          <a:solidFill>
            <a:schemeClr val="bg1"/>
          </a:solidFill>
          <a:latin typeface="+mn-lt"/>
        </a:defRPr>
      </a:lvl3pPr>
      <a:lvl4pPr marL="1254125" indent="-17462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1600">
          <a:solidFill>
            <a:schemeClr val="bg1"/>
          </a:solidFill>
          <a:latin typeface="+mn-lt"/>
        </a:defRPr>
      </a:lvl4pPr>
      <a:lvl5pPr marL="16065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bg1"/>
          </a:solidFill>
          <a:latin typeface="+mn-lt"/>
        </a:defRPr>
      </a:lvl5pPr>
      <a:lvl6pPr marL="20637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5209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29781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4353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rostokąt 8"/>
          <p:cNvSpPr/>
          <p:nvPr/>
        </p:nvSpPr>
        <p:spPr>
          <a:xfrm>
            <a:off x="0" y="6596907"/>
            <a:ext cx="9144000" cy="261094"/>
          </a:xfrm>
          <a:prstGeom prst="rect">
            <a:avLst/>
          </a:prstGeom>
          <a:solidFill>
            <a:srgbClr val="CDCF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0" y="0"/>
            <a:ext cx="9144000" cy="1251857"/>
          </a:xfrm>
          <a:prstGeom prst="rect">
            <a:avLst/>
          </a:prstGeom>
          <a:solidFill>
            <a:srgbClr val="CDCF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1" y="152400"/>
            <a:ext cx="7003504" cy="941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aby </a:t>
            </a:r>
            <a:r>
              <a:rPr lang="en-US" dirty="0" err="1" smtClean="0"/>
              <a:t>edytować</a:t>
            </a:r>
            <a:r>
              <a:rPr lang="en-US" dirty="0" smtClean="0"/>
              <a:t> </a:t>
            </a:r>
            <a:r>
              <a:rPr lang="en-US" dirty="0" err="1" smtClean="0"/>
              <a:t>styl</a:t>
            </a:r>
            <a:r>
              <a:rPr lang="en-US" dirty="0" smtClean="0"/>
              <a:t>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ytułu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412776"/>
            <a:ext cx="8515672" cy="499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aby </a:t>
            </a:r>
            <a:r>
              <a:rPr lang="en-US" dirty="0" err="1" smtClean="0"/>
              <a:t>edytować</a:t>
            </a:r>
            <a:r>
              <a:rPr lang="en-US" dirty="0" smtClean="0"/>
              <a:t> style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ekstu</a:t>
            </a:r>
            <a:endParaRPr lang="en-US" dirty="0" smtClean="0"/>
          </a:p>
          <a:p>
            <a:pPr lvl="1"/>
            <a:r>
              <a:rPr lang="en-US" dirty="0" err="1" smtClean="0"/>
              <a:t>Drug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2"/>
            <a:r>
              <a:rPr lang="en-US" dirty="0" err="1" smtClean="0"/>
              <a:t>Trzec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3"/>
            <a:r>
              <a:rPr lang="en-US" dirty="0" err="1" smtClean="0"/>
              <a:t>Czwar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4"/>
            <a:r>
              <a:rPr lang="en-US" dirty="0" err="1" smtClean="0"/>
              <a:t>Pią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</p:txBody>
      </p:sp>
      <p:sp>
        <p:nvSpPr>
          <p:cNvPr id="6" name="Prostokąt 5"/>
          <p:cNvSpPr/>
          <p:nvPr/>
        </p:nvSpPr>
        <p:spPr>
          <a:xfrm>
            <a:off x="0" y="6596906"/>
            <a:ext cx="9144000" cy="261094"/>
          </a:xfrm>
          <a:prstGeom prst="rect">
            <a:avLst/>
          </a:prstGeom>
          <a:solidFill>
            <a:srgbClr val="DA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3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067" y="151862"/>
            <a:ext cx="1170271" cy="906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19705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  <p:sldLayoutId id="2147483760" r:id="rId16"/>
    <p:sldLayoutId id="2147483761" r:id="rId17"/>
    <p:sldLayoutId id="2147483762" r:id="rId18"/>
    <p:sldLayoutId id="2147483763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166688" indent="-16668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2400">
          <a:solidFill>
            <a:schemeClr val="bg1"/>
          </a:solidFill>
          <a:latin typeface="+mn-lt"/>
          <a:ea typeface="+mn-ea"/>
          <a:cs typeface="+mn-cs"/>
        </a:defRPr>
      </a:lvl1pPr>
      <a:lvl2pPr marL="527050" indent="-18097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2000">
          <a:solidFill>
            <a:schemeClr val="bg1"/>
          </a:solidFill>
          <a:latin typeface="+mn-lt"/>
        </a:defRPr>
      </a:lvl2pPr>
      <a:lvl3pPr marL="900113" indent="-19367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>
          <a:solidFill>
            <a:schemeClr val="bg1"/>
          </a:solidFill>
          <a:latin typeface="+mn-lt"/>
        </a:defRPr>
      </a:lvl3pPr>
      <a:lvl4pPr marL="1254125" indent="-17462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1600">
          <a:solidFill>
            <a:schemeClr val="bg1"/>
          </a:solidFill>
          <a:latin typeface="+mn-lt"/>
        </a:defRPr>
      </a:lvl4pPr>
      <a:lvl5pPr marL="16065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bg1"/>
          </a:solidFill>
          <a:latin typeface="+mn-lt"/>
        </a:defRPr>
      </a:lvl5pPr>
      <a:lvl6pPr marL="20637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5209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29781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4353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rostokąt 8"/>
          <p:cNvSpPr/>
          <p:nvPr/>
        </p:nvSpPr>
        <p:spPr>
          <a:xfrm>
            <a:off x="0" y="6596907"/>
            <a:ext cx="9144000" cy="261094"/>
          </a:xfrm>
          <a:prstGeom prst="rect">
            <a:avLst/>
          </a:prstGeom>
          <a:solidFill>
            <a:srgbClr val="CDCF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0" y="0"/>
            <a:ext cx="9144000" cy="1251857"/>
          </a:xfrm>
          <a:prstGeom prst="rect">
            <a:avLst/>
          </a:prstGeom>
          <a:solidFill>
            <a:srgbClr val="CDCF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1" y="152400"/>
            <a:ext cx="7003504" cy="941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aby </a:t>
            </a:r>
            <a:r>
              <a:rPr lang="en-US" dirty="0" err="1" smtClean="0"/>
              <a:t>edytować</a:t>
            </a:r>
            <a:r>
              <a:rPr lang="en-US" dirty="0" smtClean="0"/>
              <a:t> </a:t>
            </a:r>
            <a:r>
              <a:rPr lang="en-US" dirty="0" err="1" smtClean="0"/>
              <a:t>styl</a:t>
            </a:r>
            <a:r>
              <a:rPr lang="en-US" dirty="0" smtClean="0"/>
              <a:t>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ytułu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412776"/>
            <a:ext cx="8515672" cy="499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aby </a:t>
            </a:r>
            <a:r>
              <a:rPr lang="en-US" dirty="0" err="1" smtClean="0"/>
              <a:t>edytować</a:t>
            </a:r>
            <a:r>
              <a:rPr lang="en-US" dirty="0" smtClean="0"/>
              <a:t> style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ekstu</a:t>
            </a:r>
            <a:endParaRPr lang="en-US" dirty="0" smtClean="0"/>
          </a:p>
          <a:p>
            <a:pPr lvl="1"/>
            <a:r>
              <a:rPr lang="en-US" dirty="0" err="1" smtClean="0"/>
              <a:t>Drug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2"/>
            <a:r>
              <a:rPr lang="en-US" dirty="0" err="1" smtClean="0"/>
              <a:t>Trzec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3"/>
            <a:r>
              <a:rPr lang="en-US" dirty="0" err="1" smtClean="0"/>
              <a:t>Czwar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4"/>
            <a:r>
              <a:rPr lang="en-US" dirty="0" err="1" smtClean="0"/>
              <a:t>Pią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</p:txBody>
      </p:sp>
      <p:sp>
        <p:nvSpPr>
          <p:cNvPr id="6" name="Prostokąt 5"/>
          <p:cNvSpPr/>
          <p:nvPr/>
        </p:nvSpPr>
        <p:spPr>
          <a:xfrm>
            <a:off x="0" y="6596906"/>
            <a:ext cx="9144000" cy="261094"/>
          </a:xfrm>
          <a:prstGeom prst="rect">
            <a:avLst/>
          </a:prstGeom>
          <a:solidFill>
            <a:srgbClr val="DA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7" name="Symbol zastępczy stopki 3"/>
          <p:cNvSpPr>
            <a:spLocks noGrp="1"/>
          </p:cNvSpPr>
          <p:nvPr>
            <p:ph type="ftr" sz="quarter" idx="3"/>
          </p:nvPr>
        </p:nvSpPr>
        <p:spPr>
          <a:xfrm>
            <a:off x="1143000" y="6596906"/>
            <a:ext cx="28956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8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304800" y="6596906"/>
            <a:ext cx="685800" cy="1444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79BDD8-B327-4DD0-BB40-0563E435931D}" type="slidenum">
              <a:rPr lang="en-US" smtClean="0">
                <a:solidFill>
                  <a:srgbClr val="0A1D64"/>
                </a:solidFill>
              </a:rPr>
              <a:pPr/>
              <a:t>‹#›</a:t>
            </a:fld>
            <a:endParaRPr lang="en-US" dirty="0">
              <a:solidFill>
                <a:srgbClr val="0A1D64"/>
              </a:solidFill>
            </a:endParaRPr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067" y="151862"/>
            <a:ext cx="1170271" cy="906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438785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  <p:sldLayoutId id="2147483782" r:id="rId18"/>
    <p:sldLayoutId id="2147483783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166688" indent="-16668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2400">
          <a:solidFill>
            <a:schemeClr val="bg1"/>
          </a:solidFill>
          <a:latin typeface="+mn-lt"/>
          <a:ea typeface="+mn-ea"/>
          <a:cs typeface="+mn-cs"/>
        </a:defRPr>
      </a:lvl1pPr>
      <a:lvl2pPr marL="527050" indent="-18097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2000">
          <a:solidFill>
            <a:schemeClr val="bg1"/>
          </a:solidFill>
          <a:latin typeface="+mn-lt"/>
        </a:defRPr>
      </a:lvl2pPr>
      <a:lvl3pPr marL="900113" indent="-19367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>
          <a:solidFill>
            <a:schemeClr val="bg1"/>
          </a:solidFill>
          <a:latin typeface="+mn-lt"/>
        </a:defRPr>
      </a:lvl3pPr>
      <a:lvl4pPr marL="1254125" indent="-17462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1600">
          <a:solidFill>
            <a:schemeClr val="bg1"/>
          </a:solidFill>
          <a:latin typeface="+mn-lt"/>
        </a:defRPr>
      </a:lvl4pPr>
      <a:lvl5pPr marL="16065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bg1"/>
          </a:solidFill>
          <a:latin typeface="+mn-lt"/>
        </a:defRPr>
      </a:lvl5pPr>
      <a:lvl6pPr marL="20637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5209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29781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4353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gif"/><Relationship Id="rId1" Type="http://schemas.openxmlformats.org/officeDocument/2006/relationships/slideLayout" Target="../slideLayouts/slideLayout10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0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0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10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100.xml"/><Relationship Id="rId1" Type="http://schemas.openxmlformats.org/officeDocument/2006/relationships/tags" Target="../tags/tag1.xml"/><Relationship Id="rId4" Type="http://schemas.openxmlformats.org/officeDocument/2006/relationships/image" Target="../media/image2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defTabSz="782638">
              <a:lnSpc>
                <a:spcPts val="4000"/>
              </a:lnSpc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defRPr/>
            </a:pPr>
            <a:r>
              <a:rPr lang="pl-PL" sz="24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Strategia rozwoju PGNiG SA </a:t>
            </a:r>
            <a:r>
              <a:rPr lang="pl-PL" sz="24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/>
            </a:r>
            <a:br>
              <a:rPr lang="pl-PL" sz="24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</a:br>
            <a:r>
              <a:rPr lang="pl-PL" sz="24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na </a:t>
            </a:r>
            <a:r>
              <a:rPr lang="pl-PL" sz="24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rzecz bezpieczeństwa energetycznego Polski</a:t>
            </a:r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defTabSz="782638">
              <a:lnSpc>
                <a:spcPts val="4000"/>
              </a:lnSpc>
              <a:defRPr/>
            </a:pPr>
            <a:r>
              <a:rPr lang="pl-PL" dirty="0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16 </a:t>
            </a:r>
            <a:r>
              <a:rPr lang="pl-PL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maja 2016 roku</a:t>
            </a:r>
          </a:p>
        </p:txBody>
      </p:sp>
    </p:spTree>
    <p:extLst>
      <p:ext uri="{BB962C8B-B14F-4D97-AF65-F5344CB8AC3E}">
        <p14:creationId xmlns:p14="http://schemas.microsoft.com/office/powerpoint/2010/main" val="2776914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ole tekstowe 8"/>
          <p:cNvSpPr txBox="1"/>
          <p:nvPr/>
        </p:nvSpPr>
        <p:spPr>
          <a:xfrm>
            <a:off x="4245031" y="1520454"/>
            <a:ext cx="4575182" cy="4170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just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Poza gazem </a:t>
            </a:r>
            <a:r>
              <a:rPr kumimoji="0" lang="pl-PL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LNG</a:t>
            </a:r>
            <a:r>
              <a:rPr kumimoji="0" lang="pl-PL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jedyne </a:t>
            </a:r>
            <a:r>
              <a:rPr kumimoji="0" lang="pl-PL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niezależne od Rosji </a:t>
            </a:r>
            <a:r>
              <a:rPr kumimoji="0" lang="pl-PL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dostawy gazu możliwe są </a:t>
            </a:r>
            <a:r>
              <a:rPr kumimoji="0" lang="pl-PL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z Norwegii</a:t>
            </a:r>
            <a:r>
              <a:rPr kumimoji="0" lang="pl-PL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.</a:t>
            </a:r>
          </a:p>
          <a:p>
            <a:pPr marL="171450" marR="0" lvl="0" indent="-171450" algn="just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PGNiG, </a:t>
            </a:r>
            <a:r>
              <a:rPr kumimoji="0" lang="pl-PL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przy wsparciu Rządu</a:t>
            </a:r>
            <a:r>
              <a:rPr kumimoji="0" lang="pl-PL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, powraca do </a:t>
            </a:r>
            <a:r>
              <a:rPr kumimoji="0" lang="pl-PL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rozmów z Norwegią i Danią </a:t>
            </a:r>
            <a:r>
              <a:rPr kumimoji="0" lang="pl-PL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o możliwości budowy </a:t>
            </a:r>
            <a:r>
              <a:rPr kumimoji="0" lang="pl-PL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korytarza bezpośrednich dostaw gazu </a:t>
            </a:r>
            <a:r>
              <a:rPr kumimoji="0" lang="pl-PL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do Polski </a:t>
            </a:r>
            <a:r>
              <a:rPr kumimoji="0" lang="pl-PL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z Norweskiego Szelfu Kontynentalnego</a:t>
            </a:r>
            <a:r>
              <a:rPr kumimoji="0" lang="pl-PL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. </a:t>
            </a:r>
          </a:p>
          <a:p>
            <a:pPr marL="171450" marR="0" lvl="0" indent="-171450" algn="just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Gaz dla tego korytarza pochodzić może ze źródeł kontrolowanych przez PGNiG w Norwegii. </a:t>
            </a:r>
          </a:p>
          <a:p>
            <a:pPr marL="171450" marR="0" lvl="0" indent="-171450" algn="just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PGNiG szacuje, iż </a:t>
            </a:r>
            <a:r>
              <a:rPr kumimoji="0" lang="pl-PL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efektywna ekonomicznie </a:t>
            </a:r>
            <a:r>
              <a:rPr kumimoji="0" lang="pl-PL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jest budowa infrastruktury z Norwegii </a:t>
            </a:r>
            <a:br>
              <a:rPr kumimoji="0" lang="pl-PL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</a:br>
            <a:r>
              <a:rPr kumimoji="0" lang="pl-PL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o przepustowości co najmniej </a:t>
            </a:r>
            <a:r>
              <a:rPr kumimoji="0" lang="pl-PL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do 7 mld m3 gazu rocznie. </a:t>
            </a:r>
          </a:p>
          <a:p>
            <a:pPr marL="171450" marR="0" lvl="0" indent="-171450" algn="just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Gaz norweski może trafiać </a:t>
            </a:r>
            <a:r>
              <a:rPr kumimoji="0" lang="pl-PL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na rynki państw Europy Środkowej za pośrednictwem Polski. </a:t>
            </a:r>
          </a:p>
          <a:p>
            <a:pPr marL="171450" marR="0" lvl="0" indent="-171450" algn="just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Inwestycja jest wykonalna przed 2020 r. </a:t>
            </a:r>
          </a:p>
        </p:txBody>
      </p:sp>
      <p:pic>
        <p:nvPicPr>
          <p:cNvPr id="10" name="Obraz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35" y="1509823"/>
            <a:ext cx="3495675" cy="39624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Symbol zastępczy numeru slajdu 3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</p:spPr>
        <p:txBody>
          <a:bodyPr/>
          <a:lstStyle/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10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8" name="Tytuł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7579567" cy="94138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pl-PL" sz="2400" dirty="0">
                <a:solidFill>
                  <a:srgbClr val="002060"/>
                </a:solidFill>
              </a:rPr>
              <a:t>Budowa konkurencyjnego rynku gazu </a:t>
            </a:r>
            <a:r>
              <a:rPr lang="pl-PL" sz="2400" dirty="0" smtClean="0">
                <a:solidFill>
                  <a:srgbClr val="002060"/>
                </a:solidFill>
              </a:rPr>
              <a:t/>
            </a:r>
            <a:br>
              <a:rPr lang="pl-PL" sz="2400" dirty="0" smtClean="0">
                <a:solidFill>
                  <a:srgbClr val="002060"/>
                </a:solidFill>
              </a:rPr>
            </a:br>
            <a:r>
              <a:rPr lang="pl-PL" sz="1400" b="0" dirty="0" smtClean="0">
                <a:solidFill>
                  <a:srgbClr val="002060"/>
                </a:solidFill>
              </a:rPr>
              <a:t>Niezależne </a:t>
            </a:r>
            <a:r>
              <a:rPr lang="pl-PL" sz="1400" b="0" dirty="0">
                <a:solidFill>
                  <a:srgbClr val="002060"/>
                </a:solidFill>
              </a:rPr>
              <a:t>od Rosji dostawy gazu możliwe są przez Terminal w Świnoujściu lub z Norwegii</a:t>
            </a:r>
            <a:endParaRPr lang="pl-PL" sz="1400" dirty="0"/>
          </a:p>
        </p:txBody>
      </p:sp>
    </p:spTree>
    <p:extLst>
      <p:ext uri="{BB962C8B-B14F-4D97-AF65-F5344CB8AC3E}">
        <p14:creationId xmlns:p14="http://schemas.microsoft.com/office/powerpoint/2010/main" val="1660452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252000" y="1305848"/>
            <a:ext cx="8640000" cy="276807"/>
          </a:xfrm>
          <a:prstGeom prst="rect">
            <a:avLst/>
          </a:prstGeom>
          <a:solidFill>
            <a:srgbClr val="FF6600"/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  <a:tabLst>
                <a:tab pos="0" algn="l"/>
              </a:tabLst>
            </a:pPr>
            <a:r>
              <a:rPr lang="pl-PL" sz="11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ędące już w posiadaniu PGNiG zasoby gazu pozwalają na dostawy gazu co najmniej do końca lat 2020 do Polski</a:t>
            </a:r>
            <a:endParaRPr lang="pl-PL" sz="1100" b="1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>
            <a:off x="2154300" y="2932906"/>
            <a:ext cx="4597374" cy="365167"/>
          </a:xfrm>
          <a:prstGeom prst="homePlate">
            <a:avLst>
              <a:gd name="adj" fmla="val 26678"/>
            </a:avLst>
          </a:prstGeom>
          <a:solidFill>
            <a:srgbClr val="002060"/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rodukcja gazu ziemnego przez PUI (mld m3)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323850" y="1636415"/>
            <a:ext cx="8496300" cy="188725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9563" lvl="1" fontAlgn="auto">
              <a:spcAft>
                <a:spcPts val="600"/>
              </a:spcAft>
              <a:buClr>
                <a:srgbClr val="FF6309"/>
              </a:buClr>
              <a:buFont typeface="Wingdings" panose="05000000000000000000" pitchFamily="2" charset="2"/>
              <a:buChar char="§"/>
            </a:pPr>
            <a:r>
              <a:rPr lang="pl-PL" sz="1200" dirty="0" smtClean="0">
                <a:solidFill>
                  <a:srgbClr val="002060"/>
                </a:solidFill>
                <a:cs typeface="Arial" panose="020B0604020202020204" pitchFamily="34" charset="0"/>
              </a:rPr>
              <a:t>PGNiG ma zabezpieczone portfolio wydobywcze gazu w Norwegii do 2030.</a:t>
            </a:r>
            <a:endParaRPr lang="pl-PL" sz="1200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pPr marL="309563" lvl="1" fontAlgn="auto">
              <a:spcAft>
                <a:spcPts val="600"/>
              </a:spcAft>
              <a:buClr>
                <a:srgbClr val="FF6309"/>
              </a:buClr>
              <a:buFont typeface="Wingdings" panose="05000000000000000000" pitchFamily="2" charset="2"/>
              <a:buChar char="§"/>
            </a:pPr>
            <a:r>
              <a:rPr lang="pl-PL" sz="1200" dirty="0" smtClean="0">
                <a:solidFill>
                  <a:srgbClr val="002060"/>
                </a:solidFill>
                <a:cs typeface="Arial" panose="020B0604020202020204" pitchFamily="34" charset="0"/>
              </a:rPr>
              <a:t>Stabilna długoterminowa produkcja w oparciu o pięć różnych złóż.</a:t>
            </a:r>
            <a:endParaRPr lang="pl-PL" sz="1200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pPr marL="309563" lvl="1" fontAlgn="auto">
              <a:spcAft>
                <a:spcPts val="600"/>
              </a:spcAft>
              <a:buClr>
                <a:srgbClr val="FF6309"/>
              </a:buClr>
              <a:buFont typeface="Wingdings" panose="05000000000000000000" pitchFamily="2" charset="2"/>
              <a:buChar char="§"/>
            </a:pPr>
            <a:r>
              <a:rPr lang="pl-PL" sz="1200" dirty="0" smtClean="0">
                <a:solidFill>
                  <a:srgbClr val="002060"/>
                </a:solidFill>
                <a:cs typeface="Arial" panose="020B0604020202020204" pitchFamily="34" charset="0"/>
              </a:rPr>
              <a:t>PGNiG nie wyklucza dalszych akwizycji na Norweskim Szelfie Kontynentalnym.</a:t>
            </a:r>
            <a:endParaRPr lang="pl-PL" sz="1200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pPr marL="309563" lvl="1" fontAlgn="auto">
              <a:spcAft>
                <a:spcPts val="600"/>
              </a:spcAft>
              <a:buClr>
                <a:srgbClr val="FF6309"/>
              </a:buClr>
              <a:buFont typeface="Wingdings" panose="05000000000000000000" pitchFamily="2" charset="2"/>
              <a:buChar char="§"/>
            </a:pPr>
            <a:r>
              <a:rPr lang="pl-PL" sz="1200" dirty="0" smtClean="0">
                <a:solidFill>
                  <a:srgbClr val="002060"/>
                </a:solidFill>
                <a:cs typeface="Arial" panose="020B0604020202020204" pitchFamily="34" charset="0"/>
              </a:rPr>
              <a:t>Nowy korytarz dostaw pozwoli na większą ekspansję polskich spółek w Norwegii. </a:t>
            </a:r>
            <a:endParaRPr lang="pl-PL" sz="120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grpSp>
        <p:nvGrpSpPr>
          <p:cNvPr id="8" name="Grupa 7"/>
          <p:cNvGrpSpPr/>
          <p:nvPr/>
        </p:nvGrpSpPr>
        <p:grpSpPr>
          <a:xfrm>
            <a:off x="180971" y="3298073"/>
            <a:ext cx="8787229" cy="3299279"/>
            <a:chOff x="180971" y="2930071"/>
            <a:chExt cx="8787229" cy="3299279"/>
          </a:xfrm>
        </p:grpSpPr>
        <p:graphicFrame>
          <p:nvGraphicFramePr>
            <p:cNvPr id="11" name="Wykres 10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711544116"/>
                </p:ext>
              </p:extLst>
            </p:nvPr>
          </p:nvGraphicFramePr>
          <p:xfrm>
            <a:off x="653684" y="2930071"/>
            <a:ext cx="7836631" cy="329927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2" name="pole tekstowe 11"/>
            <p:cNvSpPr txBox="1"/>
            <p:nvPr/>
          </p:nvSpPr>
          <p:spPr>
            <a:xfrm>
              <a:off x="180971" y="2945492"/>
              <a:ext cx="140970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[mld m</a:t>
              </a:r>
              <a:r>
                <a:rPr kumimoji="0" lang="pl-PL" sz="1000" b="1" i="0" u="none" strike="noStrike" kern="0" cap="none" spc="0" normalizeH="0" baseline="3000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3</a:t>
              </a:r>
              <a:r>
                <a:rPr kumimoji="0" lang="pl-P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]</a:t>
              </a:r>
            </a:p>
          </p:txBody>
        </p:sp>
        <p:sp>
          <p:nvSpPr>
            <p:cNvPr id="13" name="pole tekstowe 12"/>
            <p:cNvSpPr txBox="1"/>
            <p:nvPr/>
          </p:nvSpPr>
          <p:spPr>
            <a:xfrm>
              <a:off x="7558499" y="2947759"/>
              <a:ext cx="140970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[mld m</a:t>
              </a:r>
              <a:r>
                <a:rPr kumimoji="0" lang="pl-PL" sz="1000" b="1" i="0" u="none" strike="noStrike" kern="0" cap="none" spc="0" normalizeH="0" baseline="3000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3</a:t>
              </a:r>
              <a:r>
                <a:rPr kumimoji="0" lang="pl-PL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]</a:t>
              </a:r>
            </a:p>
          </p:txBody>
        </p:sp>
      </p:grpSp>
      <p:sp>
        <p:nvSpPr>
          <p:cNvPr id="10" name="Symbol zastępczy numeru slajdu 3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</p:spPr>
        <p:txBody>
          <a:bodyPr/>
          <a:lstStyle/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11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17" name="Tytuł 1"/>
          <p:cNvSpPr txBox="1">
            <a:spLocks/>
          </p:cNvSpPr>
          <p:nvPr/>
        </p:nvSpPr>
        <p:spPr bwMode="auto">
          <a:xfrm>
            <a:off x="304801" y="152400"/>
            <a:ext cx="7219528" cy="941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pl-PL" sz="2400" kern="0" dirty="0">
                <a:solidFill>
                  <a:srgbClr val="002060"/>
                </a:solidFill>
              </a:rPr>
              <a:t>Budowa konkurencyjnego rynku gazu</a:t>
            </a:r>
            <a:r>
              <a:rPr lang="pl-PL" kern="0" dirty="0" smtClean="0">
                <a:solidFill>
                  <a:srgbClr val="002060"/>
                </a:solidFill>
              </a:rPr>
              <a:t/>
            </a:r>
            <a:br>
              <a:rPr lang="pl-PL" kern="0" dirty="0" smtClean="0">
                <a:solidFill>
                  <a:srgbClr val="002060"/>
                </a:solidFill>
              </a:rPr>
            </a:br>
            <a:r>
              <a:rPr lang="pl-PL" sz="1400" b="0" dirty="0">
                <a:solidFill>
                  <a:srgbClr val="002060"/>
                </a:solidFill>
              </a:rPr>
              <a:t>Produkcja gazu ziemnego przez PGNiG </a:t>
            </a:r>
            <a:r>
              <a:rPr lang="pl-PL" sz="1400" b="0" dirty="0" err="1">
                <a:solidFill>
                  <a:srgbClr val="002060"/>
                </a:solidFill>
              </a:rPr>
              <a:t>Upstream</a:t>
            </a:r>
            <a:r>
              <a:rPr lang="pl-PL" sz="1400" b="0" dirty="0">
                <a:solidFill>
                  <a:srgbClr val="002060"/>
                </a:solidFill>
              </a:rPr>
              <a:t> International</a:t>
            </a:r>
            <a:endParaRPr lang="pl-PL" sz="1400" kern="0" dirty="0"/>
          </a:p>
        </p:txBody>
      </p:sp>
    </p:spTree>
    <p:extLst>
      <p:ext uri="{BB962C8B-B14F-4D97-AF65-F5344CB8AC3E}">
        <p14:creationId xmlns:p14="http://schemas.microsoft.com/office/powerpoint/2010/main" val="1771374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pl-PL" sz="2400" dirty="0">
                <a:solidFill>
                  <a:srgbClr val="002060"/>
                </a:solidFill>
              </a:rPr>
              <a:t>Budowa konkurencyjnego rynku gazu</a:t>
            </a:r>
            <a:r>
              <a:rPr lang="pl-PL" dirty="0" smtClean="0">
                <a:solidFill>
                  <a:srgbClr val="002060"/>
                </a:solidFill>
              </a:rPr>
              <a:t/>
            </a:r>
            <a:br>
              <a:rPr lang="pl-PL" dirty="0" smtClean="0">
                <a:solidFill>
                  <a:srgbClr val="002060"/>
                </a:solidFill>
              </a:rPr>
            </a:br>
            <a:r>
              <a:rPr lang="pl-PL" sz="1400" b="0" dirty="0" smtClean="0">
                <a:solidFill>
                  <a:srgbClr val="002060"/>
                </a:solidFill>
              </a:rPr>
              <a:t>Rynek LNG</a:t>
            </a:r>
            <a:endParaRPr lang="pl-PL" sz="1400" dirty="0"/>
          </a:p>
        </p:txBody>
      </p:sp>
      <p:graphicFrame>
        <p:nvGraphicFramePr>
          <p:cNvPr id="10" name="Wykres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7780818"/>
              </p:ext>
            </p:extLst>
          </p:nvPr>
        </p:nvGraphicFramePr>
        <p:xfrm>
          <a:off x="362114" y="1816822"/>
          <a:ext cx="8340454" cy="42386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pole tekstowe 13"/>
          <p:cNvSpPr txBox="1"/>
          <p:nvPr/>
        </p:nvSpPr>
        <p:spPr>
          <a:xfrm>
            <a:off x="827584" y="6055478"/>
            <a:ext cx="51971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b="0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NBP FM / TTF FM – notowania ICE</a:t>
            </a: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b="0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LNG </a:t>
            </a:r>
            <a:r>
              <a:rPr kumimoji="0" lang="pl-PL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landed</a:t>
            </a:r>
            <a:r>
              <a:rPr kumimoji="0" lang="pl-PL" b="0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 </a:t>
            </a:r>
            <a:r>
              <a:rPr kumimoji="0" lang="pl-PL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prices</a:t>
            </a:r>
            <a:r>
              <a:rPr kumimoji="0" lang="pl-PL" b="0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 UK / </a:t>
            </a:r>
            <a:r>
              <a:rPr kumimoji="0" lang="pl-PL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Belgium</a:t>
            </a:r>
            <a:r>
              <a:rPr kumimoji="0" lang="pl-PL" b="0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b="0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*Notowania na giełdach oraz ceny LNG w portach w okresie wrzesień 2014 – styczeń 2016 r. przeliczono wg kursów walut EBC oraz </a:t>
            </a:r>
            <a:r>
              <a:rPr kumimoji="0" lang="pl-PL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BoE</a:t>
            </a:r>
            <a:r>
              <a:rPr kumimoji="0" lang="pl-PL" b="0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 z 26.01.2016  </a:t>
            </a:r>
          </a:p>
        </p:txBody>
      </p:sp>
      <p:sp>
        <p:nvSpPr>
          <p:cNvPr id="15" name="pole tekstowe 14"/>
          <p:cNvSpPr txBox="1"/>
          <p:nvPr/>
        </p:nvSpPr>
        <p:spPr>
          <a:xfrm>
            <a:off x="5020004" y="2811049"/>
            <a:ext cx="2666671" cy="400110"/>
          </a:xfrm>
          <a:prstGeom prst="rect">
            <a:avLst/>
          </a:prstGeom>
          <a:solidFill>
            <a:srgbClr val="0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rPr>
              <a:t>Od końca 2015 roku ceny LNG w porcie są niższe  w porównaniu z cenami giełdowymi</a:t>
            </a:r>
          </a:p>
        </p:txBody>
      </p:sp>
      <p:sp>
        <p:nvSpPr>
          <p:cNvPr id="16" name="pole tekstowe 15"/>
          <p:cNvSpPr txBox="1"/>
          <p:nvPr/>
        </p:nvSpPr>
        <p:spPr>
          <a:xfrm>
            <a:off x="400050" y="1340768"/>
            <a:ext cx="8414854" cy="4308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równanie cen LNG w portach Europy Północno-Zachodniej (Wielka Brytania i Belgia) z notowaniami kontraktów FM </a:t>
            </a:r>
            <a:br>
              <a:rPr kumimoji="0" lang="pl-PL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pl-PL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 giełdach NBP (Wielka Brytania) i TTF (Holandia)</a:t>
            </a:r>
            <a:endParaRPr kumimoji="0" lang="pl-PL" sz="11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Symbol zastępczy numeru slajdu 3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</p:spPr>
        <p:txBody>
          <a:bodyPr/>
          <a:lstStyle/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12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7264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pl-PL" sz="2400" dirty="0">
                <a:solidFill>
                  <a:srgbClr val="002060"/>
                </a:solidFill>
              </a:rPr>
              <a:t>Budowa konkurencyjnego rynku gazu</a:t>
            </a:r>
            <a:r>
              <a:rPr lang="pl-PL" dirty="0" smtClean="0">
                <a:solidFill>
                  <a:srgbClr val="002060"/>
                </a:solidFill>
              </a:rPr>
              <a:t/>
            </a:r>
            <a:br>
              <a:rPr lang="pl-PL" dirty="0" smtClean="0">
                <a:solidFill>
                  <a:srgbClr val="002060"/>
                </a:solidFill>
              </a:rPr>
            </a:br>
            <a:r>
              <a:rPr lang="pl-PL" sz="1400" b="0" dirty="0" smtClean="0">
                <a:solidFill>
                  <a:srgbClr val="002060"/>
                </a:solidFill>
              </a:rPr>
              <a:t>Rynek LNG</a:t>
            </a:r>
            <a:endParaRPr lang="pl-PL" sz="1400" dirty="0"/>
          </a:p>
        </p:txBody>
      </p:sp>
      <p:graphicFrame>
        <p:nvGraphicFramePr>
          <p:cNvPr id="7" name="Chart 156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99835177"/>
              </p:ext>
            </p:extLst>
          </p:nvPr>
        </p:nvGraphicFramePr>
        <p:xfrm>
          <a:off x="132578" y="1663091"/>
          <a:ext cx="5851003" cy="4334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pole tekstowe 16"/>
          <p:cNvSpPr txBox="1"/>
          <p:nvPr/>
        </p:nvSpPr>
        <p:spPr>
          <a:xfrm>
            <a:off x="6010593" y="2060848"/>
            <a:ext cx="2953980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just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FF630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Należy oczekiwać </a:t>
            </a:r>
            <a:r>
              <a:rPr kumimoji="0" lang="pl-PL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podwojenia</a:t>
            </a:r>
            <a:r>
              <a:rPr kumimoji="0" lang="pl-PL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 produkcji LNG na świecie </a:t>
            </a:r>
            <a:br>
              <a:rPr kumimoji="0" lang="pl-PL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</a:br>
            <a:r>
              <a:rPr kumimoji="0" lang="pl-PL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w perspektywie 2030 r. </a:t>
            </a:r>
          </a:p>
          <a:p>
            <a:pPr marL="171450" marR="0" lvl="0" indent="-171450" algn="just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FF630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Dzięki </a:t>
            </a:r>
            <a:r>
              <a:rPr kumimoji="0" lang="pl-PL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terminalowi w Świnoujściu </a:t>
            </a:r>
            <a:r>
              <a:rPr kumimoji="0" lang="pl-PL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oraz </a:t>
            </a:r>
            <a:r>
              <a:rPr kumimoji="0" lang="pl-PL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planowanym inwestycjom w Norwegii</a:t>
            </a:r>
            <a:r>
              <a:rPr kumimoji="0" lang="pl-PL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, Polska może stać się regionalnym </a:t>
            </a:r>
            <a:r>
              <a:rPr kumimoji="0" lang="pl-PL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hubem</a:t>
            </a:r>
            <a:r>
              <a:rPr kumimoji="0" lang="pl-PL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 gazowym </a:t>
            </a:r>
            <a:r>
              <a:rPr kumimoji="0" lang="pl-PL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– zwłaszcza po jego rozbudowie. </a:t>
            </a:r>
          </a:p>
          <a:p>
            <a:pPr marL="171450" marR="0" lvl="0" indent="-171450" algn="just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FF630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Trudne do prognozowania są jednak ceny LNG na rynkach światowych</a:t>
            </a:r>
            <a:r>
              <a:rPr kumimoji="0" lang="pl-PL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. W 2014 r. ok. 75% zdolności </a:t>
            </a:r>
            <a:r>
              <a:rPr kumimoji="0" lang="pl-PL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regazyfikacyjnych</a:t>
            </a:r>
            <a:r>
              <a:rPr kumimoji="0" lang="pl-PL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</a:rPr>
              <a:t> terminali LNG w UE było niewykorzystane. </a:t>
            </a:r>
          </a:p>
        </p:txBody>
      </p:sp>
      <p:sp>
        <p:nvSpPr>
          <p:cNvPr id="11" name="pole tekstowe 10"/>
          <p:cNvSpPr txBox="1"/>
          <p:nvPr/>
        </p:nvSpPr>
        <p:spPr>
          <a:xfrm>
            <a:off x="400050" y="1340768"/>
            <a:ext cx="8414854" cy="26161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100" b="1" kern="0" dirty="0">
                <a:solidFill>
                  <a:srgbClr val="0A1D64"/>
                </a:solidFill>
                <a:latin typeface="Arial"/>
              </a:rPr>
              <a:t>Zdolności produkcyjne LNG na świecie – dane historyczne i prognoza</a:t>
            </a:r>
            <a:endParaRPr lang="pl-PL" sz="11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Symbol zastępczy numeru slajdu 3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</p:spPr>
        <p:txBody>
          <a:bodyPr/>
          <a:lstStyle/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13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691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pl-PL" sz="2400" dirty="0">
                <a:solidFill>
                  <a:srgbClr val="002060"/>
                </a:solidFill>
              </a:rPr>
              <a:t>Budowa konkurencyjnego rynku gazu</a:t>
            </a:r>
            <a:r>
              <a:rPr lang="pl-PL" dirty="0" smtClean="0">
                <a:solidFill>
                  <a:srgbClr val="002060"/>
                </a:solidFill>
              </a:rPr>
              <a:t/>
            </a:r>
            <a:br>
              <a:rPr lang="pl-PL" dirty="0" smtClean="0">
                <a:solidFill>
                  <a:srgbClr val="002060"/>
                </a:solidFill>
              </a:rPr>
            </a:br>
            <a:r>
              <a:rPr lang="pl-PL" sz="1400" b="0" dirty="0" smtClean="0">
                <a:solidFill>
                  <a:srgbClr val="002060"/>
                </a:solidFill>
              </a:rPr>
              <a:t>Rynek LNG</a:t>
            </a:r>
            <a:endParaRPr lang="pl-PL" sz="1400" dirty="0"/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6422" y="4194517"/>
            <a:ext cx="3496788" cy="2334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Symbol zastępczy zawartości 14"/>
          <p:cNvSpPr txBox="1">
            <a:spLocks/>
          </p:cNvSpPr>
          <p:nvPr/>
        </p:nvSpPr>
        <p:spPr bwMode="auto">
          <a:xfrm>
            <a:off x="4572350" y="1561643"/>
            <a:ext cx="4320480" cy="2118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66688" indent="-166688" algn="l" rtl="0" fontAlgn="base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527050" indent="-180975" algn="l" rtl="0" fontAlgn="base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000">
                <a:solidFill>
                  <a:srgbClr val="002060"/>
                </a:solidFill>
                <a:latin typeface="+mn-lt"/>
              </a:defRPr>
            </a:lvl2pPr>
            <a:lvl3pPr marL="900113" indent="-193675" algn="l" rtl="0" fontAlgn="base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>
                <a:solidFill>
                  <a:srgbClr val="002060"/>
                </a:solidFill>
                <a:latin typeface="+mn-lt"/>
              </a:defRPr>
            </a:lvl3pPr>
            <a:lvl4pPr marL="1254125" indent="-174625" algn="l" rtl="0" fontAlgn="base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rgbClr val="002060"/>
                </a:solidFill>
                <a:latin typeface="+mn-lt"/>
              </a:defRPr>
            </a:lvl4pPr>
            <a:lvl5pPr marL="1606550" indent="-173038" algn="l" rtl="0" fontAlgn="base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»"/>
              <a:defRPr sz="1600">
                <a:solidFill>
                  <a:srgbClr val="002060"/>
                </a:solidFill>
                <a:latin typeface="+mn-lt"/>
              </a:defRPr>
            </a:lvl5pPr>
            <a:lvl6pPr marL="2063750" indent="-173038" algn="l" rtl="0" fontAlgn="base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0950" indent="-173038" algn="l" rtl="0" fontAlgn="base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8150" indent="-173038" algn="l" rtl="0" fontAlgn="base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5350" indent="-173038" algn="l" rtl="0" fontAlgn="base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charset="0"/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66688" marR="0" lvl="0" indent="-166688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5000"/>
              </a:spcAft>
              <a:buClr>
                <a:srgbClr val="FF630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zekuje się, że do roku 2020 </a:t>
            </a:r>
            <a:r>
              <a:rPr kumimoji="0" lang="pl-PL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kcja LNG wzrośnie </a:t>
            </a:r>
            <a:br>
              <a:rPr kumimoji="0" lang="pl-PL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pl-PL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 40% </a:t>
            </a:r>
            <a:r>
              <a:rPr kumimoji="0" lang="pl-PL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w stosunku do produkcji z 2014 r.). Największy przyrost produkcji prognozowany jest w basenie Oceanu Spokojnego. </a:t>
            </a:r>
          </a:p>
          <a:p>
            <a:pPr marL="166688" marR="0" lvl="0" indent="-166688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5000"/>
              </a:spcAft>
              <a:buClr>
                <a:srgbClr val="FF630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 obliczu rosnącej podaży wzrasta także znaczenie handlu LNG na bazie spot oraz krótko- i średnioterminowej.</a:t>
            </a:r>
          </a:p>
          <a:p>
            <a:pPr marL="166688" marR="0" lvl="0" indent="-166688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5000"/>
              </a:spcAft>
              <a:buClr>
                <a:srgbClr val="FF630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zacuje się, że udział obrotu LNG na bazie spot oraz krótko- </a:t>
            </a:r>
            <a:br>
              <a:rPr kumimoji="0" lang="pl-PL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pl-PL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 średnioterminowej w całkowitym handlu LNG będzie </a:t>
            </a:r>
            <a:br>
              <a:rPr kumimoji="0" lang="pl-PL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pl-PL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 dalszym ciągu wzrastał m.in. z powodu większej ilości kontraktów bez klauzuli destynacji, zwiększaniem się ilości uczestników rynku, a także dostępnością floty LNG.</a:t>
            </a:r>
            <a:endParaRPr kumimoji="0" lang="pl-PL" sz="11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0" name="Wykres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99695455"/>
              </p:ext>
            </p:extLst>
          </p:nvPr>
        </p:nvGraphicFramePr>
        <p:xfrm>
          <a:off x="252350" y="1556792"/>
          <a:ext cx="4427984" cy="4536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pole tekstowe 11"/>
          <p:cNvSpPr txBox="1"/>
          <p:nvPr/>
        </p:nvSpPr>
        <p:spPr>
          <a:xfrm>
            <a:off x="4796422" y="3763630"/>
            <a:ext cx="37512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Obrót wolumenami na bazie spot </a:t>
            </a:r>
            <a:br>
              <a:rPr kumimoji="0" lang="pl-PL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</a:br>
            <a:r>
              <a:rPr kumimoji="0" lang="pl-PL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oraz krótko- i średnioterminowej </a:t>
            </a:r>
          </a:p>
        </p:txBody>
      </p:sp>
      <p:sp>
        <p:nvSpPr>
          <p:cNvPr id="13" name="pole tekstowe 12"/>
          <p:cNvSpPr txBox="1"/>
          <p:nvPr/>
        </p:nvSpPr>
        <p:spPr>
          <a:xfrm rot="16200000">
            <a:off x="4013176" y="5222837"/>
            <a:ext cx="117484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mln ton rocznie</a:t>
            </a:r>
          </a:p>
        </p:txBody>
      </p:sp>
      <p:sp>
        <p:nvSpPr>
          <p:cNvPr id="14" name="pole tekstowe 13"/>
          <p:cNvSpPr txBox="1"/>
          <p:nvPr/>
        </p:nvSpPr>
        <p:spPr>
          <a:xfrm rot="16200000">
            <a:off x="7520110" y="5326171"/>
            <a:ext cx="19211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udział % w handlu LNG łącznie</a:t>
            </a:r>
          </a:p>
        </p:txBody>
      </p:sp>
      <p:sp>
        <p:nvSpPr>
          <p:cNvPr id="16" name="pole tekstowe 15"/>
          <p:cNvSpPr txBox="1"/>
          <p:nvPr/>
        </p:nvSpPr>
        <p:spPr>
          <a:xfrm>
            <a:off x="611560" y="6597932"/>
            <a:ext cx="610446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* Non </a:t>
            </a:r>
            <a:r>
              <a:rPr kumimoji="0" lang="pl-PL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Long</a:t>
            </a:r>
            <a:r>
              <a:rPr kumimoji="0" lang="pl-PL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-Term Trade – wolumeny LNG sprzedawane na bazie kontraktów spot i terminowych krótszych niż 5 lat.</a:t>
            </a:r>
          </a:p>
        </p:txBody>
      </p:sp>
      <p:sp>
        <p:nvSpPr>
          <p:cNvPr id="11" name="Symbol zastępczy numeru slajdu 3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</p:spPr>
        <p:txBody>
          <a:bodyPr/>
          <a:lstStyle/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14</a:t>
            </a:fld>
            <a:endParaRPr lang="en-US" dirty="0">
              <a:solidFill>
                <a:srgbClr val="0A1D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53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Foliennummernplatzhalter 5"/>
          <p:cNvSpPr txBox="1">
            <a:spLocks noGrp="1"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eaLnBrk="0" hangingPunct="0"/>
            <a:fld id="{F748D16F-63DF-403E-B402-443E38989486}" type="slidenum">
              <a:rPr lang="de-DE" sz="900">
                <a:solidFill>
                  <a:srgbClr val="898989"/>
                </a:solidFill>
              </a:rPr>
              <a:pPr algn="r" eaLnBrk="0" hangingPunct="0"/>
              <a:t>15</a:t>
            </a:fld>
            <a:endParaRPr lang="de-DE" sz="900">
              <a:solidFill>
                <a:srgbClr val="898989"/>
              </a:solidFill>
            </a:endParaRPr>
          </a:p>
        </p:txBody>
      </p:sp>
      <p:sp>
        <p:nvSpPr>
          <p:cNvPr id="110595" name="Foliennummernplatzhalter 5"/>
          <p:cNvSpPr txBox="1">
            <a:spLocks noGrp="1"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eaLnBrk="0" hangingPunct="0"/>
            <a:fld id="{6AAD062C-E089-44F4-96D0-15C29B251ED8}" type="slidenum">
              <a:rPr lang="de-DE" sz="900">
                <a:solidFill>
                  <a:srgbClr val="898989"/>
                </a:solidFill>
              </a:rPr>
              <a:pPr algn="r" eaLnBrk="0" hangingPunct="0"/>
              <a:t>15</a:t>
            </a:fld>
            <a:endParaRPr lang="de-DE" sz="900">
              <a:solidFill>
                <a:srgbClr val="898989"/>
              </a:solidFill>
            </a:endParaRPr>
          </a:p>
        </p:txBody>
      </p:sp>
      <p:sp>
        <p:nvSpPr>
          <p:cNvPr id="110596" name="Foliennummernplatzhalter 5"/>
          <p:cNvSpPr txBox="1">
            <a:spLocks noGrp="1"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eaLnBrk="0" hangingPunct="0"/>
            <a:fld id="{0E012186-96DE-4DEE-82EB-E11AD044B950}" type="slidenum">
              <a:rPr lang="de-DE" sz="900">
                <a:solidFill>
                  <a:srgbClr val="898989"/>
                </a:solidFill>
              </a:rPr>
              <a:pPr algn="r" eaLnBrk="0" hangingPunct="0"/>
              <a:t>15</a:t>
            </a:fld>
            <a:endParaRPr lang="de-DE" sz="900">
              <a:solidFill>
                <a:srgbClr val="898989"/>
              </a:solidFill>
            </a:endParaRPr>
          </a:p>
        </p:txBody>
      </p:sp>
      <p:sp>
        <p:nvSpPr>
          <p:cNvPr id="110597" name="Foliennummernplatzhalter 5"/>
          <p:cNvSpPr txBox="1">
            <a:spLocks noGrp="1"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eaLnBrk="0" hangingPunct="0"/>
            <a:fld id="{F35D03BC-7B19-45F7-90E3-6C7DA9C4E953}" type="slidenum">
              <a:rPr lang="de-DE" sz="900">
                <a:solidFill>
                  <a:srgbClr val="898989"/>
                </a:solidFill>
              </a:rPr>
              <a:pPr algn="r" eaLnBrk="0" hangingPunct="0"/>
              <a:t>15</a:t>
            </a:fld>
            <a:endParaRPr lang="de-DE" sz="900">
              <a:solidFill>
                <a:srgbClr val="898989"/>
              </a:solidFill>
            </a:endParaRPr>
          </a:p>
        </p:txBody>
      </p:sp>
      <p:sp>
        <p:nvSpPr>
          <p:cNvPr id="110598" name="Foliennummernplatzhalter 5"/>
          <p:cNvSpPr txBox="1">
            <a:spLocks noGrp="1"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eaLnBrk="0" hangingPunct="0"/>
            <a:fld id="{3CBD4AA2-623F-46C8-A708-2BC76C7DBE2F}" type="slidenum">
              <a:rPr lang="de-DE" sz="900">
                <a:solidFill>
                  <a:srgbClr val="898989"/>
                </a:solidFill>
              </a:rPr>
              <a:pPr algn="r" eaLnBrk="0" hangingPunct="0"/>
              <a:t>15</a:t>
            </a:fld>
            <a:endParaRPr lang="de-DE" sz="900">
              <a:solidFill>
                <a:srgbClr val="898989"/>
              </a:solidFill>
            </a:endParaRPr>
          </a:p>
        </p:txBody>
      </p:sp>
      <p:sp>
        <p:nvSpPr>
          <p:cNvPr id="1105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pl-PL" smtClean="0"/>
          </a:p>
        </p:txBody>
      </p:sp>
      <p:sp>
        <p:nvSpPr>
          <p:cNvPr id="11060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pl-PL" smtClean="0"/>
          </a:p>
        </p:txBody>
      </p:sp>
      <p:pic>
        <p:nvPicPr>
          <p:cNvPr id="110601" name="Picture 2" descr="Picture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-1588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946096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>
                <a:solidFill>
                  <a:srgbClr val="0A1D64"/>
                </a:solidFill>
              </a:rPr>
              <a:t> </a:t>
            </a:r>
            <a:r>
              <a:rPr lang="en-GB" dirty="0">
                <a:solidFill>
                  <a:srgbClr val="0A1D64"/>
                </a:solidFill>
              </a:rPr>
              <a:t>Agenda</a:t>
            </a:r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6BAD645-4E0B-44EC-8C5B-BC5A360C58F7}" type="slidenum">
              <a:rPr lang="en-US">
                <a:solidFill>
                  <a:srgbClr val="0A1D64"/>
                </a:solidFill>
              </a:rPr>
              <a:pPr/>
              <a:t>2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209552" y="1196758"/>
            <a:ext cx="8582025" cy="360363"/>
          </a:xfrm>
          <a:prstGeom prst="rect">
            <a:avLst/>
          </a:prstGeom>
          <a:noFill/>
          <a:ln w="25400">
            <a:noFill/>
            <a:miter lim="800000"/>
            <a:headEnd type="none" w="sm" len="sm"/>
            <a:tailEnd type="none" w="sm" len="sm"/>
          </a:ln>
        </p:spPr>
        <p:txBody>
          <a:bodyPr anchor="ctr"/>
          <a:lstStyle/>
          <a:p>
            <a:pPr eaLnBrk="0" hangingPunct="0">
              <a:lnSpc>
                <a:spcPct val="105000"/>
              </a:lnSpc>
              <a:spcBef>
                <a:spcPct val="50000"/>
              </a:spcBef>
              <a:buClr>
                <a:srgbClr val="EF7D21"/>
              </a:buClr>
              <a:buFont typeface="Symbol" pitchFamily="18" charset="2"/>
              <a:buNone/>
              <a:defRPr/>
            </a:pPr>
            <a:endParaRPr lang="pl-PL" sz="1800" dirty="0" smtClean="0">
              <a:solidFill>
                <a:srgbClr val="002060"/>
              </a:solidFill>
            </a:endParaRPr>
          </a:p>
          <a:p>
            <a:pPr eaLnBrk="0" hangingPunct="0">
              <a:lnSpc>
                <a:spcPct val="105000"/>
              </a:lnSpc>
              <a:spcBef>
                <a:spcPct val="50000"/>
              </a:spcBef>
              <a:buClr>
                <a:srgbClr val="EF7D21"/>
              </a:buClr>
              <a:buFont typeface="Symbol" pitchFamily="18" charset="2"/>
              <a:buNone/>
              <a:defRPr/>
            </a:pPr>
            <a:r>
              <a:rPr lang="en-GB" sz="1800" dirty="0" smtClean="0">
                <a:solidFill>
                  <a:srgbClr val="002060"/>
                </a:solidFill>
              </a:rPr>
              <a:t>1</a:t>
            </a:r>
            <a:r>
              <a:rPr lang="en-GB" sz="1800" dirty="0">
                <a:solidFill>
                  <a:srgbClr val="002060"/>
                </a:solidFill>
              </a:rPr>
              <a:t>. </a:t>
            </a:r>
            <a:r>
              <a:rPr lang="pl-PL" sz="1800" dirty="0" smtClean="0">
                <a:solidFill>
                  <a:srgbClr val="002060"/>
                </a:solidFill>
              </a:rPr>
              <a:t>Zaktualizowana Strategia GK PGNiG na lata 2014-2022</a:t>
            </a:r>
            <a:endParaRPr lang="en-GB" sz="1800" dirty="0">
              <a:solidFill>
                <a:srgbClr val="002060"/>
              </a:solidFill>
            </a:endParaRPr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242766" y="2143463"/>
            <a:ext cx="8582025" cy="360362"/>
          </a:xfrm>
          <a:prstGeom prst="rect">
            <a:avLst/>
          </a:prstGeom>
          <a:noFill/>
          <a:ln w="25400">
            <a:noFill/>
            <a:miter lim="800000"/>
            <a:headEnd type="none" w="sm" len="sm"/>
            <a:tailEnd type="none" w="sm" len="sm"/>
          </a:ln>
        </p:spPr>
        <p:txBody>
          <a:bodyPr anchor="ctr"/>
          <a:lstStyle/>
          <a:p>
            <a:pPr eaLnBrk="0" hangingPunct="0">
              <a:lnSpc>
                <a:spcPct val="105000"/>
              </a:lnSpc>
              <a:spcBef>
                <a:spcPct val="50000"/>
              </a:spcBef>
              <a:buClr>
                <a:srgbClr val="EF7D21"/>
              </a:buClr>
              <a:buFont typeface="Symbol" pitchFamily="18" charset="2"/>
              <a:buNone/>
              <a:defRPr/>
            </a:pPr>
            <a:endParaRPr lang="pl-PL" sz="1800" dirty="0" smtClean="0">
              <a:solidFill>
                <a:srgbClr val="002060"/>
              </a:solidFill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245942" y="2603838"/>
            <a:ext cx="8582025" cy="360362"/>
          </a:xfrm>
          <a:prstGeom prst="rect">
            <a:avLst/>
          </a:prstGeom>
          <a:noFill/>
          <a:ln w="25400">
            <a:noFill/>
            <a:miter lim="800000"/>
            <a:headEnd type="none" w="sm" len="sm"/>
            <a:tailEnd type="none" w="sm" len="sm"/>
          </a:ln>
        </p:spPr>
        <p:txBody>
          <a:bodyPr anchor="ctr"/>
          <a:lstStyle/>
          <a:p>
            <a:pPr eaLnBrk="0" hangingPunct="0">
              <a:lnSpc>
                <a:spcPct val="105000"/>
              </a:lnSpc>
              <a:spcBef>
                <a:spcPct val="50000"/>
              </a:spcBef>
              <a:buClr>
                <a:srgbClr val="EF7D21"/>
              </a:buClr>
              <a:buFont typeface="Symbol" pitchFamily="18" charset="2"/>
              <a:buNone/>
              <a:defRPr/>
            </a:pPr>
            <a:r>
              <a:rPr lang="en-GB" sz="1600" dirty="0">
                <a:solidFill>
                  <a:srgbClr val="002060"/>
                </a:solidFill>
              </a:rPr>
              <a:t>     </a:t>
            </a:r>
            <a:r>
              <a:rPr lang="en-GB" sz="1600" dirty="0" smtClean="0">
                <a:solidFill>
                  <a:srgbClr val="002060"/>
                </a:solidFill>
              </a:rPr>
              <a:t> </a:t>
            </a:r>
            <a:endParaRPr lang="pl-PL" sz="1600" dirty="0" smtClean="0">
              <a:solidFill>
                <a:srgbClr val="002060"/>
              </a:solidFill>
            </a:endParaRPr>
          </a:p>
          <a:p>
            <a:pPr eaLnBrk="0" hangingPunct="0">
              <a:lnSpc>
                <a:spcPct val="105000"/>
              </a:lnSpc>
              <a:spcBef>
                <a:spcPct val="50000"/>
              </a:spcBef>
              <a:buClr>
                <a:srgbClr val="EF7D21"/>
              </a:buClr>
              <a:buFont typeface="Symbol" pitchFamily="18" charset="2"/>
              <a:buNone/>
              <a:defRPr/>
            </a:pPr>
            <a:r>
              <a:rPr lang="pl-PL" sz="1600" dirty="0" smtClean="0">
                <a:solidFill>
                  <a:srgbClr val="002060"/>
                </a:solidFill>
              </a:rPr>
              <a:t>      </a:t>
            </a:r>
            <a:endParaRPr lang="en-GB" sz="1600" dirty="0">
              <a:solidFill>
                <a:srgbClr val="002060"/>
              </a:solidFill>
            </a:endParaRPr>
          </a:p>
        </p:txBody>
      </p:sp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239712" y="1772816"/>
            <a:ext cx="8582025" cy="180181"/>
          </a:xfrm>
          <a:prstGeom prst="rect">
            <a:avLst/>
          </a:prstGeom>
          <a:noFill/>
          <a:ln w="25400">
            <a:noFill/>
            <a:miter lim="800000"/>
            <a:headEnd type="none" w="sm" len="sm"/>
            <a:tailEnd type="none" w="sm" len="sm"/>
          </a:ln>
        </p:spPr>
        <p:txBody>
          <a:bodyPr anchor="ctr"/>
          <a:lstStyle/>
          <a:p>
            <a:pPr eaLnBrk="0" hangingPunct="0">
              <a:lnSpc>
                <a:spcPct val="105000"/>
              </a:lnSpc>
              <a:spcBef>
                <a:spcPct val="50000"/>
              </a:spcBef>
              <a:buClr>
                <a:srgbClr val="EF7D21"/>
              </a:buClr>
              <a:defRPr/>
            </a:pPr>
            <a:endParaRPr lang="pl-PL" sz="1800" dirty="0" smtClean="0">
              <a:solidFill>
                <a:srgbClr val="002060"/>
              </a:solidFill>
            </a:endParaRPr>
          </a:p>
          <a:p>
            <a:pPr eaLnBrk="0" hangingPunct="0">
              <a:lnSpc>
                <a:spcPct val="105000"/>
              </a:lnSpc>
              <a:spcBef>
                <a:spcPct val="50000"/>
              </a:spcBef>
              <a:buClr>
                <a:srgbClr val="EF7D21"/>
              </a:buClr>
              <a:defRPr/>
            </a:pPr>
            <a:r>
              <a:rPr lang="pl-PL" sz="1800" dirty="0" smtClean="0">
                <a:solidFill>
                  <a:srgbClr val="002060"/>
                </a:solidFill>
              </a:rPr>
              <a:t>2</a:t>
            </a:r>
            <a:r>
              <a:rPr lang="en-GB" sz="1800" dirty="0" smtClean="0">
                <a:solidFill>
                  <a:srgbClr val="002060"/>
                </a:solidFill>
              </a:rPr>
              <a:t>.</a:t>
            </a:r>
            <a:r>
              <a:rPr lang="pl-PL" sz="1800" dirty="0" smtClean="0">
                <a:solidFill>
                  <a:srgbClr val="002060"/>
                </a:solidFill>
              </a:rPr>
              <a:t> </a:t>
            </a:r>
            <a:r>
              <a:rPr lang="pl-PL" sz="1800" dirty="0" smtClean="0">
                <a:solidFill>
                  <a:srgbClr val="002060"/>
                </a:solidFill>
              </a:rPr>
              <a:t>Budowa konkurencyjnego rynku gazu</a:t>
            </a:r>
            <a:endParaRPr lang="pl-PL" sz="1800" dirty="0" smtClean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53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9144000" cy="6857999"/>
          </a:xfrm>
          <a:prstGeom prst="rect">
            <a:avLst/>
          </a:prstGeom>
        </p:spPr>
      </p:pic>
      <p:sp>
        <p:nvSpPr>
          <p:cNvPr id="4" name="Symbol zastępczy numeru slajd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3</a:t>
            </a:fld>
            <a:endParaRPr lang="en-US" dirty="0">
              <a:solidFill>
                <a:srgbClr val="0A1D64"/>
              </a:solidFill>
            </a:endParaRPr>
          </a:p>
        </p:txBody>
      </p:sp>
      <p:cxnSp>
        <p:nvCxnSpPr>
          <p:cNvPr id="6" name="Łącznik prostoliniowy 5"/>
          <p:cNvCxnSpPr/>
          <p:nvPr/>
        </p:nvCxnSpPr>
        <p:spPr>
          <a:xfrm flipV="1">
            <a:off x="8748713" y="1"/>
            <a:ext cx="0" cy="3800474"/>
          </a:xfrm>
          <a:prstGeom prst="line">
            <a:avLst/>
          </a:prstGeom>
          <a:ln w="15875" cap="flat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434614" y="950119"/>
            <a:ext cx="8173219" cy="1900237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r" fontAlgn="auto">
              <a:spcBef>
                <a:spcPct val="20000"/>
              </a:spcBef>
              <a:spcAft>
                <a:spcPts val="0"/>
              </a:spcAft>
            </a:pPr>
            <a:endParaRPr lang="pl-PL" sz="3200" dirty="0">
              <a:solidFill>
                <a:srgbClr val="FFFFFF"/>
              </a:solidFill>
              <a:cs typeface="Arial" pitchFamily="34" charset="0"/>
            </a:endParaRPr>
          </a:p>
          <a:p>
            <a:pPr marL="342900" indent="-342900" algn="r" fontAlgn="auto">
              <a:spcBef>
                <a:spcPct val="20000"/>
              </a:spcBef>
              <a:spcAft>
                <a:spcPts val="0"/>
              </a:spcAft>
            </a:pPr>
            <a:r>
              <a:rPr lang="pl-PL" sz="3200" dirty="0" smtClean="0">
                <a:solidFill>
                  <a:srgbClr val="FFFFFF"/>
                </a:solidFill>
                <a:cs typeface="Arial" pitchFamily="34" charset="0"/>
              </a:rPr>
              <a:t>Zaktualizowana Strategia GK PGNiG </a:t>
            </a:r>
            <a:br>
              <a:rPr lang="pl-PL" sz="3200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pl-PL" sz="3200" dirty="0" smtClean="0">
                <a:solidFill>
                  <a:srgbClr val="FFFFFF"/>
                </a:solidFill>
                <a:cs typeface="Arial" pitchFamily="34" charset="0"/>
              </a:rPr>
              <a:t>na lata 2014-2022</a:t>
            </a:r>
          </a:p>
        </p:txBody>
      </p:sp>
    </p:spTree>
    <p:extLst>
      <p:ext uri="{BB962C8B-B14F-4D97-AF65-F5344CB8AC3E}">
        <p14:creationId xmlns:p14="http://schemas.microsoft.com/office/powerpoint/2010/main" val="3232165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6BAD645-4E0B-44EC-8C5B-BC5A360C58F7}" type="slidenum">
              <a:rPr lang="en-GB" smtClean="0">
                <a:solidFill>
                  <a:srgbClr val="0A1D64"/>
                </a:solidFill>
              </a:rPr>
              <a:pPr/>
              <a:t>4</a:t>
            </a:fld>
            <a:endParaRPr lang="en-GB" dirty="0">
              <a:solidFill>
                <a:srgbClr val="0A1D64"/>
              </a:solidFill>
            </a:endParaRPr>
          </a:p>
        </p:txBody>
      </p:sp>
      <p:sp>
        <p:nvSpPr>
          <p:cNvPr id="14" name="Rectangle 25"/>
          <p:cNvSpPr>
            <a:spLocks noChangeArrowheads="1"/>
          </p:cNvSpPr>
          <p:nvPr/>
        </p:nvSpPr>
        <p:spPr bwMode="auto">
          <a:xfrm>
            <a:off x="143508" y="1376772"/>
            <a:ext cx="8856539" cy="585065"/>
          </a:xfrm>
          <a:prstGeom prst="rect">
            <a:avLst/>
          </a:prstGeom>
          <a:noFill/>
          <a:ln w="9525" algn="ctr">
            <a:noFill/>
            <a:miter lim="800000"/>
            <a:headEnd type="none" w="sm" len="sm"/>
            <a:tailEnd/>
          </a:ln>
          <a:effectLst/>
        </p:spPr>
        <p:txBody>
          <a:bodyPr lIns="36000" tIns="91440" bIns="91440" anchor="t"/>
          <a:lstStyle/>
          <a:p>
            <a:pPr marL="0" lvl="1" algn="ctr" defTabSz="1073150" eaLnBrk="0" fontAlgn="auto" hangingPunct="0">
              <a:lnSpc>
                <a:spcPts val="17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Pct val="100000"/>
              <a:tabLst>
                <a:tab pos="182563" algn="l"/>
              </a:tabLst>
              <a:defRPr/>
            </a:pPr>
            <a:r>
              <a:rPr lang="pl-PL" sz="1600" kern="0" dirty="0">
                <a:solidFill>
                  <a:srgbClr val="0A1D64"/>
                </a:solidFill>
              </a:rPr>
              <a:t>W wyniku przeprowadzonego przeglądu Strategii GK PGNiG na lata 2014-2022 </a:t>
            </a:r>
            <a:br>
              <a:rPr lang="pl-PL" sz="1600" kern="0" dirty="0">
                <a:solidFill>
                  <a:srgbClr val="0A1D64"/>
                </a:solidFill>
              </a:rPr>
            </a:br>
            <a:r>
              <a:rPr lang="pl-PL" sz="1600" b="1" kern="0" dirty="0">
                <a:solidFill>
                  <a:srgbClr val="0A1D64"/>
                </a:solidFill>
              </a:rPr>
              <a:t>została zaktualizowana wizja GK PGNiG oraz cel nadrzędny</a:t>
            </a:r>
          </a:p>
          <a:p>
            <a:pPr marL="0" lvl="1" defTabSz="1073150" eaLnBrk="0" fontAlgn="auto" hangingPunct="0">
              <a:lnSpc>
                <a:spcPts val="17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Pct val="100000"/>
              <a:tabLst>
                <a:tab pos="182563" algn="l"/>
              </a:tabLst>
              <a:defRPr/>
            </a:pPr>
            <a:endParaRPr lang="en-GB" sz="1600" kern="0" dirty="0" smtClean="0">
              <a:solidFill>
                <a:srgbClr val="0A1D64"/>
              </a:solidFill>
            </a:endParaRPr>
          </a:p>
        </p:txBody>
      </p:sp>
      <p:sp>
        <p:nvSpPr>
          <p:cNvPr id="15" name="Prostokąt 2"/>
          <p:cNvSpPr/>
          <p:nvPr/>
        </p:nvSpPr>
        <p:spPr>
          <a:xfrm>
            <a:off x="3276006" y="2133050"/>
            <a:ext cx="2556000" cy="324000"/>
          </a:xfrm>
          <a:prstGeom prst="rect">
            <a:avLst/>
          </a:prstGeom>
          <a:solidFill>
            <a:srgbClr val="0768A9"/>
          </a:solidFill>
          <a:ln w="25400" cap="flat" cmpd="sng" algn="ctr">
            <a:solidFill>
              <a:srgbClr val="0768A9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400" b="1" kern="0" dirty="0" smtClean="0">
                <a:solidFill>
                  <a:srgbClr val="FFFFFF"/>
                </a:solidFill>
                <a:latin typeface="Arial"/>
              </a:rPr>
              <a:t>Wizja</a:t>
            </a:r>
            <a:endParaRPr lang="en-GB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Prostokąt 3"/>
          <p:cNvSpPr/>
          <p:nvPr/>
        </p:nvSpPr>
        <p:spPr>
          <a:xfrm>
            <a:off x="3276006" y="2466286"/>
            <a:ext cx="2556000" cy="1430766"/>
          </a:xfrm>
          <a:prstGeom prst="rect">
            <a:avLst/>
          </a:prstGeom>
          <a:noFill/>
          <a:ln w="25400" cap="flat" cmpd="sng" algn="ctr">
            <a:solidFill>
              <a:srgbClr val="0768A9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000" kern="0" dirty="0">
                <a:solidFill>
                  <a:srgbClr val="0A1D64"/>
                </a:solidFill>
                <a:latin typeface="Arial"/>
              </a:rPr>
              <a:t>Od gwaranta dostaw gazu do aktywnego, rentownego i konkurencyjnego gracza na rynkach wydobycia węglowodorów </a:t>
            </a:r>
            <a:r>
              <a:rPr lang="pl-PL" sz="1000" kern="0" dirty="0" smtClean="0">
                <a:solidFill>
                  <a:srgbClr val="0A1D64"/>
                </a:solidFill>
                <a:latin typeface="Arial"/>
              </a:rPr>
              <a:t/>
            </a:r>
            <a:br>
              <a:rPr lang="pl-PL" sz="1000" kern="0" dirty="0" smtClean="0">
                <a:solidFill>
                  <a:srgbClr val="0A1D64"/>
                </a:solidFill>
                <a:latin typeface="Arial"/>
              </a:rPr>
            </a:br>
            <a:r>
              <a:rPr lang="pl-PL" sz="1000" kern="0" dirty="0" smtClean="0">
                <a:solidFill>
                  <a:srgbClr val="0A1D64"/>
                </a:solidFill>
                <a:latin typeface="Arial"/>
              </a:rPr>
              <a:t>i </a:t>
            </a:r>
            <a:r>
              <a:rPr lang="pl-PL" sz="1000" kern="0" dirty="0">
                <a:solidFill>
                  <a:srgbClr val="0A1D64"/>
                </a:solidFill>
                <a:latin typeface="Arial"/>
              </a:rPr>
              <a:t>obrotu nośnikami energii, przy zapewnieniu dywersyfikacji </a:t>
            </a:r>
            <a:br>
              <a:rPr lang="pl-PL" sz="1000" kern="0" dirty="0">
                <a:solidFill>
                  <a:srgbClr val="0A1D64"/>
                </a:solidFill>
                <a:latin typeface="Arial"/>
              </a:rPr>
            </a:br>
            <a:r>
              <a:rPr lang="pl-PL" sz="1000" kern="0" dirty="0">
                <a:solidFill>
                  <a:srgbClr val="0A1D64"/>
                </a:solidFill>
                <a:latin typeface="Arial"/>
              </a:rPr>
              <a:t>dostaw gazu</a:t>
            </a:r>
          </a:p>
        </p:txBody>
      </p:sp>
      <p:sp>
        <p:nvSpPr>
          <p:cNvPr id="17" name="Prostokąt 104"/>
          <p:cNvSpPr/>
          <p:nvPr/>
        </p:nvSpPr>
        <p:spPr>
          <a:xfrm>
            <a:off x="179812" y="2124538"/>
            <a:ext cx="2556000" cy="341748"/>
          </a:xfrm>
          <a:prstGeom prst="rect">
            <a:avLst/>
          </a:prstGeom>
          <a:solidFill>
            <a:srgbClr val="0A1D64"/>
          </a:solidFill>
          <a:ln w="25400" cap="flat" cmpd="sng" algn="ctr">
            <a:solidFill>
              <a:srgbClr val="0A1D64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400" b="1" kern="0" dirty="0" smtClean="0">
                <a:solidFill>
                  <a:srgbClr val="FFFFFF"/>
                </a:solidFill>
                <a:latin typeface="Arial"/>
              </a:rPr>
              <a:t>Misja</a:t>
            </a:r>
            <a:endParaRPr lang="en-GB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8" name="Prostokąt 105"/>
          <p:cNvSpPr/>
          <p:nvPr/>
        </p:nvSpPr>
        <p:spPr>
          <a:xfrm>
            <a:off x="179812" y="2466285"/>
            <a:ext cx="2556000" cy="1430765"/>
          </a:xfrm>
          <a:prstGeom prst="rect">
            <a:avLst/>
          </a:prstGeom>
          <a:noFill/>
          <a:ln w="25400" cap="flat" cmpd="sng" algn="ctr">
            <a:solidFill>
              <a:srgbClr val="0A1D64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000" kern="0" dirty="0">
                <a:solidFill>
                  <a:srgbClr val="0A1D64"/>
                </a:solidFill>
                <a:latin typeface="Arial"/>
              </a:rPr>
              <a:t>Wzrost wartości PGNiG </a:t>
            </a:r>
            <a:br>
              <a:rPr lang="pl-PL" sz="1000" kern="0" dirty="0">
                <a:solidFill>
                  <a:srgbClr val="0A1D64"/>
                </a:solidFill>
                <a:latin typeface="Arial"/>
              </a:rPr>
            </a:br>
            <a:r>
              <a:rPr lang="pl-PL" sz="1000" kern="0" dirty="0">
                <a:solidFill>
                  <a:srgbClr val="0A1D64"/>
                </a:solidFill>
                <a:latin typeface="Arial"/>
              </a:rPr>
              <a:t>w oparciu o rozwój obszaru wydobycia </a:t>
            </a:r>
            <a:r>
              <a:rPr lang="pl-PL" sz="1000" kern="0" dirty="0" smtClean="0">
                <a:solidFill>
                  <a:srgbClr val="0A1D64"/>
                </a:solidFill>
                <a:latin typeface="Arial"/>
              </a:rPr>
              <a:t/>
            </a:r>
            <a:br>
              <a:rPr lang="pl-PL" sz="1000" kern="0" dirty="0" smtClean="0">
                <a:solidFill>
                  <a:srgbClr val="0A1D64"/>
                </a:solidFill>
                <a:latin typeface="Arial"/>
              </a:rPr>
            </a:br>
            <a:r>
              <a:rPr lang="pl-PL" sz="1000" kern="0" dirty="0" smtClean="0">
                <a:solidFill>
                  <a:srgbClr val="0A1D64"/>
                </a:solidFill>
                <a:latin typeface="Arial"/>
              </a:rPr>
              <a:t>i </a:t>
            </a:r>
            <a:r>
              <a:rPr lang="pl-PL" sz="1000" kern="0" dirty="0">
                <a:solidFill>
                  <a:srgbClr val="0A1D64"/>
                </a:solidFill>
                <a:latin typeface="Arial"/>
              </a:rPr>
              <a:t>efektywne wykorzystanie infrastruktury, przy zachowaniu zdolności do zapewnienia dostaw </a:t>
            </a:r>
            <a:r>
              <a:rPr lang="pl-PL" sz="1000" kern="0" dirty="0" smtClean="0">
                <a:solidFill>
                  <a:srgbClr val="0A1D64"/>
                </a:solidFill>
                <a:latin typeface="Arial"/>
              </a:rPr>
              <a:t>gazu</a:t>
            </a:r>
            <a:endParaRPr lang="pl-PL" sz="1000" kern="0" dirty="0">
              <a:solidFill>
                <a:srgbClr val="0A1D64"/>
              </a:solidFill>
              <a:latin typeface="Arial"/>
            </a:endParaRPr>
          </a:p>
        </p:txBody>
      </p:sp>
      <p:sp>
        <p:nvSpPr>
          <p:cNvPr id="19" name="Prostokąt 106"/>
          <p:cNvSpPr/>
          <p:nvPr/>
        </p:nvSpPr>
        <p:spPr>
          <a:xfrm>
            <a:off x="6408492" y="2133050"/>
            <a:ext cx="2556000" cy="324000"/>
          </a:xfrm>
          <a:prstGeom prst="rect">
            <a:avLst/>
          </a:prstGeom>
          <a:solidFill>
            <a:srgbClr val="BFE3EE"/>
          </a:solidFill>
          <a:ln w="25400" cap="flat" cmpd="sng" algn="ctr">
            <a:solidFill>
              <a:srgbClr val="BFE3EE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400" b="1" kern="0" dirty="0" smtClean="0">
                <a:solidFill>
                  <a:srgbClr val="000000"/>
                </a:solidFill>
                <a:latin typeface="Arial"/>
              </a:rPr>
              <a:t>Cel nadrzędny</a:t>
            </a:r>
            <a:endParaRPr lang="en-GB" sz="14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Prostokąt 107"/>
          <p:cNvSpPr/>
          <p:nvPr/>
        </p:nvSpPr>
        <p:spPr>
          <a:xfrm>
            <a:off x="6408492" y="2466285"/>
            <a:ext cx="2556000" cy="1430767"/>
          </a:xfrm>
          <a:prstGeom prst="rect">
            <a:avLst/>
          </a:prstGeom>
          <a:noFill/>
          <a:ln w="25400" cap="flat" cmpd="sng" algn="ctr">
            <a:solidFill>
              <a:srgbClr val="BFE3EE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000" kern="0" dirty="0">
                <a:solidFill>
                  <a:srgbClr val="0A1D64"/>
                </a:solidFill>
                <a:latin typeface="Arial"/>
              </a:rPr>
              <a:t>Utrzymanie poziomu EBITDA </a:t>
            </a:r>
            <a:br>
              <a:rPr lang="pl-PL" sz="1000" kern="0" dirty="0">
                <a:solidFill>
                  <a:srgbClr val="0A1D64"/>
                </a:solidFill>
                <a:latin typeface="Arial"/>
              </a:rPr>
            </a:br>
            <a:r>
              <a:rPr lang="pl-PL" sz="1000" kern="0" dirty="0">
                <a:solidFill>
                  <a:srgbClr val="0A1D64"/>
                </a:solidFill>
                <a:latin typeface="Arial"/>
              </a:rPr>
              <a:t>w perspektywie 2017 r. i jej zwiększenie do poziomu </a:t>
            </a:r>
            <a:r>
              <a:rPr lang="pl-PL" sz="1000" b="1" kern="0" dirty="0" smtClean="0">
                <a:solidFill>
                  <a:srgbClr val="0A1D64"/>
                </a:solidFill>
                <a:latin typeface="Arial"/>
              </a:rPr>
              <a:t>~</a:t>
            </a:r>
            <a:r>
              <a:rPr lang="pl-PL" sz="1000" b="1" kern="0" dirty="0">
                <a:solidFill>
                  <a:srgbClr val="0A1D64"/>
                </a:solidFill>
                <a:latin typeface="Arial"/>
              </a:rPr>
              <a:t>7,4 mld PLN </a:t>
            </a:r>
            <a:r>
              <a:rPr lang="pl-PL" sz="1000" kern="0" dirty="0">
                <a:solidFill>
                  <a:srgbClr val="0A1D64"/>
                </a:solidFill>
                <a:latin typeface="Arial"/>
              </a:rPr>
              <a:t>w 2022 r.</a:t>
            </a:r>
          </a:p>
        </p:txBody>
      </p:sp>
      <p:sp>
        <p:nvSpPr>
          <p:cNvPr id="21" name="Trójkąt równoramienny 6"/>
          <p:cNvSpPr/>
          <p:nvPr/>
        </p:nvSpPr>
        <p:spPr>
          <a:xfrm rot="5400000">
            <a:off x="2152877" y="2871050"/>
            <a:ext cx="1764000" cy="288000"/>
          </a:xfrm>
          <a:prstGeom prst="triangle">
            <a:avLst/>
          </a:prstGeom>
          <a:solidFill>
            <a:schemeClr val="tx1">
              <a:lumMod val="6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 kern="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" name="Trójkąt równoramienny 12"/>
          <p:cNvSpPr/>
          <p:nvPr/>
        </p:nvSpPr>
        <p:spPr>
          <a:xfrm rot="5400000">
            <a:off x="5218778" y="2871052"/>
            <a:ext cx="1764000" cy="288000"/>
          </a:xfrm>
          <a:prstGeom prst="triangle">
            <a:avLst/>
          </a:prstGeom>
          <a:solidFill>
            <a:schemeClr val="tx1">
              <a:lumMod val="6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 kern="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ectangle 7"/>
          <p:cNvSpPr>
            <a:spLocks noChangeArrowheads="1"/>
          </p:cNvSpPr>
          <p:nvPr/>
        </p:nvSpPr>
        <p:spPr bwMode="gray">
          <a:xfrm>
            <a:off x="108543" y="4590401"/>
            <a:ext cx="2627269" cy="324000"/>
          </a:xfrm>
          <a:prstGeom prst="rect">
            <a:avLst/>
          </a:prstGeom>
          <a:pattFill prst="ltDnDiag">
            <a:fgClr>
              <a:srgbClr val="CDCFD0"/>
            </a:fgClr>
            <a:bgClr>
              <a:schemeClr val="tx1"/>
            </a:bgClr>
          </a:pattFill>
          <a:ln w="19050">
            <a:noFill/>
            <a:miter lim="800000"/>
            <a:headEnd/>
            <a:tailEnd/>
          </a:ln>
          <a:effectLst/>
          <a:extLst/>
        </p:spPr>
        <p:txBody>
          <a:bodyPr wrap="square" lIns="35992" tIns="35992" rIns="72000" bIns="35992" anchor="ctr" anchorCtr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58775" indent="-717550" algn="r">
              <a:spcBef>
                <a:spcPts val="0"/>
              </a:spcBef>
              <a:buClr>
                <a:srgbClr val="0A1D64"/>
              </a:buClr>
            </a:pPr>
            <a:r>
              <a:rPr lang="pl-PL" b="1" dirty="0" smtClean="0">
                <a:solidFill>
                  <a:srgbClr val="0A1D64"/>
                </a:solidFill>
                <a:latin typeface="Arial"/>
                <a:cs typeface="Arial"/>
              </a:rPr>
              <a:t>OCHRONA WARTOŚCI</a:t>
            </a:r>
            <a:endParaRPr lang="en-GB" b="1" dirty="0">
              <a:solidFill>
                <a:srgbClr val="0A1D64"/>
              </a:solidFill>
              <a:latin typeface="Arial"/>
              <a:cs typeface="Arial"/>
            </a:endParaRPr>
          </a:p>
        </p:txBody>
      </p:sp>
      <p:sp>
        <p:nvSpPr>
          <p:cNvPr id="24" name="Rectangle 7"/>
          <p:cNvSpPr>
            <a:spLocks noChangeArrowheads="1"/>
          </p:cNvSpPr>
          <p:nvPr/>
        </p:nvSpPr>
        <p:spPr bwMode="gray">
          <a:xfrm>
            <a:off x="3276006" y="4590401"/>
            <a:ext cx="2556000" cy="324000"/>
          </a:xfrm>
          <a:prstGeom prst="rect">
            <a:avLst/>
          </a:prstGeom>
          <a:pattFill prst="ltDnDiag">
            <a:fgClr>
              <a:srgbClr val="CDCFD0"/>
            </a:fgClr>
            <a:bgClr>
              <a:schemeClr val="tx1"/>
            </a:bgClr>
          </a:pattFill>
          <a:ln w="19050">
            <a:noFill/>
            <a:miter lim="800000"/>
            <a:headEnd/>
            <a:tailEnd/>
          </a:ln>
          <a:effectLst/>
          <a:extLst/>
        </p:spPr>
        <p:txBody>
          <a:bodyPr wrap="square" lIns="35992" tIns="35992" rIns="35992" bIns="35992" anchor="ctr" anchorCtr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indent="-360286" algn="ctr">
              <a:spcBef>
                <a:spcPts val="0"/>
              </a:spcBef>
              <a:buClr>
                <a:srgbClr val="0A1D64"/>
              </a:buClr>
            </a:pPr>
            <a:r>
              <a:rPr lang="pl-PL" b="1" dirty="0" smtClean="0">
                <a:solidFill>
                  <a:srgbClr val="0A1D64"/>
                </a:solidFill>
                <a:latin typeface="Arial"/>
                <a:cs typeface="Arial"/>
              </a:rPr>
              <a:t>SILNIK</a:t>
            </a:r>
            <a:endParaRPr lang="en-GB" b="1" dirty="0">
              <a:solidFill>
                <a:srgbClr val="0A1D64"/>
              </a:solidFill>
              <a:latin typeface="Arial"/>
              <a:cs typeface="Arial"/>
            </a:endParaRPr>
          </a:p>
        </p:txBody>
      </p:sp>
      <p:sp>
        <p:nvSpPr>
          <p:cNvPr id="25" name="Rectangle 7"/>
          <p:cNvSpPr>
            <a:spLocks noChangeArrowheads="1"/>
          </p:cNvSpPr>
          <p:nvPr/>
        </p:nvSpPr>
        <p:spPr bwMode="gray">
          <a:xfrm>
            <a:off x="6408492" y="4590401"/>
            <a:ext cx="2619244" cy="324000"/>
          </a:xfrm>
          <a:prstGeom prst="rect">
            <a:avLst/>
          </a:prstGeom>
          <a:pattFill prst="ltDnDiag">
            <a:fgClr>
              <a:srgbClr val="CDCFD0"/>
            </a:fgClr>
            <a:bgClr>
              <a:schemeClr val="tx1"/>
            </a:bgClr>
          </a:pattFill>
          <a:ln w="19050">
            <a:noFill/>
            <a:miter lim="800000"/>
            <a:headEnd/>
            <a:tailEnd/>
          </a:ln>
          <a:effectLst/>
          <a:extLst/>
        </p:spPr>
        <p:txBody>
          <a:bodyPr wrap="square" lIns="35992" tIns="35992" rIns="35992" bIns="35992" anchor="ctr" anchorCtr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A1D64"/>
              </a:buClr>
              <a:defRPr/>
            </a:pPr>
            <a:r>
              <a:rPr lang="pl-PL" b="1" kern="0" dirty="0" smtClean="0">
                <a:solidFill>
                  <a:srgbClr val="0A1D64"/>
                </a:solidFill>
              </a:rPr>
              <a:t>WZROST</a:t>
            </a:r>
            <a:endParaRPr lang="en-GB" b="1" kern="0" dirty="0">
              <a:solidFill>
                <a:srgbClr val="0A1D64"/>
              </a:solidFill>
            </a:endParaRPr>
          </a:p>
        </p:txBody>
      </p:sp>
      <p:sp>
        <p:nvSpPr>
          <p:cNvPr id="26" name="Prostokąt 18"/>
          <p:cNvSpPr/>
          <p:nvPr/>
        </p:nvSpPr>
        <p:spPr>
          <a:xfrm>
            <a:off x="99191" y="4590401"/>
            <a:ext cx="2636621" cy="1128813"/>
          </a:xfrm>
          <a:prstGeom prst="rect">
            <a:avLst/>
          </a:prstGeom>
          <a:noFill/>
          <a:ln w="25400" cap="flat" cmpd="sng" algn="ctr">
            <a:solidFill>
              <a:srgbClr val="CDCFD0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ct val="20000"/>
              </a:spcAft>
              <a:defRPr/>
            </a:pPr>
            <a:endParaRPr lang="en-GB" sz="1400" kern="0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 fontAlgn="auto">
              <a:spcBef>
                <a:spcPts val="0"/>
              </a:spcBef>
              <a:spcAft>
                <a:spcPct val="20000"/>
              </a:spcAft>
              <a:defRPr/>
            </a:pPr>
            <a:endParaRPr lang="en-GB" sz="1400" kern="0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 fontAlgn="auto">
              <a:spcBef>
                <a:spcPts val="0"/>
              </a:spcBef>
              <a:spcAft>
                <a:spcPct val="20000"/>
              </a:spcAft>
              <a:defRPr/>
            </a:pPr>
            <a:endParaRPr lang="pl-PL" sz="1400" kern="0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000" kern="0" dirty="0">
                <a:solidFill>
                  <a:srgbClr val="0A1D64"/>
                </a:solidFill>
                <a:latin typeface="Arial"/>
              </a:rPr>
              <a:t>Utrzymanie wartości </a:t>
            </a:r>
            <a:br>
              <a:rPr lang="pl-PL" sz="1000" kern="0" dirty="0">
                <a:solidFill>
                  <a:srgbClr val="0A1D64"/>
                </a:solidFill>
                <a:latin typeface="Arial"/>
              </a:rPr>
            </a:br>
            <a:r>
              <a:rPr lang="pl-PL" sz="1000" kern="0" dirty="0">
                <a:solidFill>
                  <a:srgbClr val="0A1D64"/>
                </a:solidFill>
                <a:latin typeface="Arial"/>
              </a:rPr>
              <a:t>w obrocie </a:t>
            </a:r>
            <a:br>
              <a:rPr lang="pl-PL" sz="1000" kern="0" dirty="0">
                <a:solidFill>
                  <a:srgbClr val="0A1D64"/>
                </a:solidFill>
                <a:latin typeface="Arial"/>
              </a:rPr>
            </a:br>
            <a:r>
              <a:rPr lang="pl-PL" sz="1000" kern="0" dirty="0">
                <a:solidFill>
                  <a:srgbClr val="0A1D64"/>
                </a:solidFill>
                <a:latin typeface="Arial"/>
              </a:rPr>
              <a:t>(detalicznym i hurtowym)</a:t>
            </a:r>
          </a:p>
          <a:p>
            <a:pPr algn="ctr" fontAlgn="auto">
              <a:spcBef>
                <a:spcPts val="0"/>
              </a:spcBef>
              <a:spcAft>
                <a:spcPct val="20000"/>
              </a:spcAft>
              <a:defRPr/>
            </a:pPr>
            <a:r>
              <a:rPr lang="en-GB" sz="1400" kern="0" dirty="0" smtClean="0">
                <a:solidFill>
                  <a:srgbClr val="000000"/>
                </a:solidFill>
                <a:latin typeface="Arial"/>
                <a:cs typeface="Arial"/>
              </a:rPr>
              <a:t/>
            </a:r>
            <a:br>
              <a:rPr lang="en-GB" sz="1400" kern="0" dirty="0" smtClean="0">
                <a:solidFill>
                  <a:srgbClr val="000000"/>
                </a:solidFill>
                <a:latin typeface="Arial"/>
                <a:cs typeface="Arial"/>
              </a:rPr>
            </a:br>
            <a:endParaRPr lang="en-GB" sz="1400" kern="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7" name="Prostokąt 19"/>
          <p:cNvSpPr/>
          <p:nvPr/>
        </p:nvSpPr>
        <p:spPr>
          <a:xfrm>
            <a:off x="3276006" y="4590401"/>
            <a:ext cx="2556000" cy="1131212"/>
          </a:xfrm>
          <a:prstGeom prst="rect">
            <a:avLst/>
          </a:prstGeom>
          <a:noFill/>
          <a:ln w="25400" cap="flat" cmpd="sng" algn="ctr">
            <a:solidFill>
              <a:srgbClr val="CDCFD0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ct val="20000"/>
              </a:spcAft>
              <a:defRPr/>
            </a:pPr>
            <a:endParaRPr lang="en-GB" sz="1400" kern="0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 fontAlgn="auto">
              <a:spcBef>
                <a:spcPts val="0"/>
              </a:spcBef>
              <a:spcAft>
                <a:spcPct val="20000"/>
              </a:spcAft>
              <a:defRPr/>
            </a:pPr>
            <a:endParaRPr lang="en-GB" sz="1400" kern="0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 fontAlgn="auto">
              <a:spcBef>
                <a:spcPts val="0"/>
              </a:spcBef>
              <a:spcAft>
                <a:spcPct val="20000"/>
              </a:spcAft>
              <a:defRPr/>
            </a:pPr>
            <a:r>
              <a:rPr lang="pl-PL" sz="1000" kern="0" dirty="0">
                <a:solidFill>
                  <a:srgbClr val="0A1D64"/>
                </a:solidFill>
                <a:latin typeface="Arial"/>
              </a:rPr>
              <a:t>Maksymalizacja przepływów </a:t>
            </a:r>
            <a:br>
              <a:rPr lang="pl-PL" sz="1000" kern="0" dirty="0">
                <a:solidFill>
                  <a:srgbClr val="0A1D64"/>
                </a:solidFill>
                <a:latin typeface="Arial"/>
              </a:rPr>
            </a:br>
            <a:r>
              <a:rPr lang="pl-PL" sz="1000" kern="0" dirty="0">
                <a:solidFill>
                  <a:srgbClr val="0A1D64"/>
                </a:solidFill>
                <a:latin typeface="Arial"/>
              </a:rPr>
              <a:t>z obszarów infrastruktury </a:t>
            </a:r>
            <a:br>
              <a:rPr lang="pl-PL" sz="1000" kern="0" dirty="0">
                <a:solidFill>
                  <a:srgbClr val="0A1D64"/>
                </a:solidFill>
                <a:latin typeface="Arial"/>
              </a:rPr>
            </a:br>
            <a:r>
              <a:rPr lang="pl-PL" sz="1000" kern="0" dirty="0">
                <a:solidFill>
                  <a:srgbClr val="0A1D64"/>
                </a:solidFill>
                <a:latin typeface="Arial"/>
              </a:rPr>
              <a:t>i wytwarzania</a:t>
            </a:r>
            <a:r>
              <a:rPr lang="en-GB" sz="1000" kern="0" dirty="0">
                <a:solidFill>
                  <a:srgbClr val="0A1D64"/>
                </a:solidFill>
                <a:latin typeface="Arial"/>
              </a:rPr>
              <a:t/>
            </a:r>
            <a:br>
              <a:rPr lang="en-GB" sz="1000" kern="0" dirty="0">
                <a:solidFill>
                  <a:srgbClr val="0A1D64"/>
                </a:solidFill>
                <a:latin typeface="Arial"/>
              </a:rPr>
            </a:br>
            <a:r>
              <a:rPr lang="en-GB" sz="1000" kern="0" dirty="0" smtClean="0">
                <a:solidFill>
                  <a:srgbClr val="000000"/>
                </a:solidFill>
                <a:latin typeface="Arial"/>
                <a:cs typeface="Arial"/>
              </a:rPr>
              <a:t/>
            </a:r>
            <a:br>
              <a:rPr lang="en-GB" sz="1000" kern="0" dirty="0" smtClean="0">
                <a:solidFill>
                  <a:srgbClr val="000000"/>
                </a:solidFill>
                <a:latin typeface="Arial"/>
                <a:cs typeface="Arial"/>
              </a:rPr>
            </a:br>
            <a:endParaRPr lang="en-GB" sz="1000" kern="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Prostokąt 20"/>
          <p:cNvSpPr/>
          <p:nvPr/>
        </p:nvSpPr>
        <p:spPr>
          <a:xfrm>
            <a:off x="6408492" y="4590401"/>
            <a:ext cx="2619244" cy="1131211"/>
          </a:xfrm>
          <a:prstGeom prst="rect">
            <a:avLst/>
          </a:prstGeom>
          <a:noFill/>
          <a:ln w="25400" cap="flat" cmpd="sng" algn="ctr">
            <a:solidFill>
              <a:srgbClr val="CDCFD0"/>
            </a:solidFill>
            <a:prstDash val="solid"/>
          </a:ln>
          <a:effectLst/>
        </p:spPr>
        <p:txBody>
          <a:bodyPr rtlCol="0" anchor="ctr"/>
          <a:lstStyle/>
          <a:p>
            <a:pPr algn="ctr" defTabSz="895350" fontAlgn="auto">
              <a:spcBef>
                <a:spcPts val="0"/>
              </a:spcBef>
              <a:spcAft>
                <a:spcPct val="20000"/>
              </a:spcAft>
              <a:buClr>
                <a:srgbClr val="0A1D64"/>
              </a:buClr>
              <a:defRPr/>
            </a:pPr>
            <a:endParaRPr lang="pl-PL" sz="1400" kern="0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 defTabSz="895350" fontAlgn="auto">
              <a:spcBef>
                <a:spcPts val="0"/>
              </a:spcBef>
              <a:spcAft>
                <a:spcPct val="20000"/>
              </a:spcAft>
              <a:buClr>
                <a:srgbClr val="0A1D64"/>
              </a:buClr>
              <a:defRPr/>
            </a:pPr>
            <a:r>
              <a:rPr lang="pl-PL" sz="1000" kern="0" dirty="0">
                <a:solidFill>
                  <a:srgbClr val="0A1D64"/>
                </a:solidFill>
                <a:latin typeface="Arial"/>
              </a:rPr>
              <a:t>Wzmocnienie i transformacja obszaru poszukiwań i wydobycia</a:t>
            </a: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gray">
          <a:xfrm>
            <a:off x="108543" y="5841340"/>
            <a:ext cx="8919193" cy="324000"/>
          </a:xfrm>
          <a:prstGeom prst="rect">
            <a:avLst/>
          </a:prstGeom>
          <a:pattFill prst="ltDnDiag">
            <a:fgClr>
              <a:srgbClr val="CDCFD0"/>
            </a:fgClr>
            <a:bgClr>
              <a:schemeClr val="tx1"/>
            </a:bgClr>
          </a:pattFill>
          <a:ln w="19050">
            <a:noFill/>
            <a:miter lim="800000"/>
            <a:headEnd/>
            <a:tailEnd/>
          </a:ln>
          <a:effectLst/>
          <a:extLst/>
        </p:spPr>
        <p:txBody>
          <a:bodyPr wrap="square" lIns="35992" tIns="35992" rIns="35992" bIns="35992" anchor="ctr" anchorCtr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indent="-360286" algn="ctr">
              <a:spcBef>
                <a:spcPts val="0"/>
              </a:spcBef>
              <a:buClr>
                <a:srgbClr val="0A1D64"/>
              </a:buClr>
            </a:pPr>
            <a:r>
              <a:rPr lang="pl-PL" b="1" dirty="0">
                <a:solidFill>
                  <a:srgbClr val="0A1D64"/>
                </a:solidFill>
                <a:latin typeface="Arial"/>
                <a:cs typeface="Arial"/>
              </a:rPr>
              <a:t>FUNDAMENTY WZROSTU</a:t>
            </a:r>
          </a:p>
        </p:txBody>
      </p:sp>
      <p:sp>
        <p:nvSpPr>
          <p:cNvPr id="30" name="Prostokąt 22"/>
          <p:cNvSpPr/>
          <p:nvPr/>
        </p:nvSpPr>
        <p:spPr>
          <a:xfrm>
            <a:off x="108543" y="5841340"/>
            <a:ext cx="8927507" cy="648000"/>
          </a:xfrm>
          <a:prstGeom prst="rect">
            <a:avLst/>
          </a:prstGeom>
          <a:noFill/>
          <a:ln w="25400" cap="flat" cmpd="sng" algn="ctr">
            <a:solidFill>
              <a:srgbClr val="CDCFD0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ct val="20000"/>
              </a:spcAft>
              <a:defRPr/>
            </a:pPr>
            <a:endParaRPr lang="pl-PL" sz="1400" kern="0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 defTabSz="895350" fontAlgn="auto">
              <a:spcBef>
                <a:spcPts val="0"/>
              </a:spcBef>
              <a:spcAft>
                <a:spcPct val="20000"/>
              </a:spcAft>
              <a:buClr>
                <a:srgbClr val="0A1D64"/>
              </a:buClr>
              <a:defRPr/>
            </a:pPr>
            <a:r>
              <a:rPr lang="pl-PL" sz="1000" kern="0" dirty="0">
                <a:solidFill>
                  <a:srgbClr val="0A1D64"/>
                </a:solidFill>
                <a:latin typeface="Arial"/>
              </a:rPr>
              <a:t>Zbudowanie fundamentów wzrostu w całym łańcuchu wartości</a:t>
            </a:r>
          </a:p>
        </p:txBody>
      </p:sp>
      <p:sp>
        <p:nvSpPr>
          <p:cNvPr id="31" name="Prostokąt 5"/>
          <p:cNvSpPr/>
          <p:nvPr/>
        </p:nvSpPr>
        <p:spPr>
          <a:xfrm>
            <a:off x="99191" y="2047954"/>
            <a:ext cx="8928546" cy="1919484"/>
          </a:xfrm>
          <a:prstGeom prst="rect">
            <a:avLst/>
          </a:prstGeom>
          <a:noFill/>
          <a:ln w="19050" cap="flat" cmpd="sng" algn="ctr">
            <a:solidFill>
              <a:srgbClr val="FF6309"/>
            </a:solidFill>
            <a:prstDash val="sysDot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 kern="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" name="Trójkąt równoramienny 24"/>
          <p:cNvSpPr/>
          <p:nvPr/>
        </p:nvSpPr>
        <p:spPr>
          <a:xfrm rot="10800000">
            <a:off x="108544" y="4084672"/>
            <a:ext cx="8927506" cy="396000"/>
          </a:xfrm>
          <a:prstGeom prst="triangle">
            <a:avLst/>
          </a:prstGeom>
          <a:solidFill>
            <a:schemeClr val="tx1">
              <a:lumMod val="6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 kern="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Oval 47"/>
          <p:cNvSpPr>
            <a:spLocks/>
          </p:cNvSpPr>
          <p:nvPr/>
        </p:nvSpPr>
        <p:spPr>
          <a:xfrm>
            <a:off x="118254" y="4609575"/>
            <a:ext cx="252000" cy="252000"/>
          </a:xfrm>
          <a:prstGeom prst="ellipse">
            <a:avLst/>
          </a:prstGeom>
          <a:solidFill>
            <a:srgbClr val="0A1D64"/>
          </a:solidFill>
          <a:ln w="12700" cap="flat" cmpd="sng" algn="ctr">
            <a:noFill/>
            <a:prstDash val="solid"/>
          </a:ln>
          <a:effectLst/>
        </p:spPr>
        <p:txBody>
          <a:bodyPr wrap="none" lIns="35992" tIns="35992" rIns="35992" bIns="35992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 smtClean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endParaRPr lang="en-GB" sz="12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7" name="Oval 47"/>
          <p:cNvSpPr>
            <a:spLocks/>
          </p:cNvSpPr>
          <p:nvPr/>
        </p:nvSpPr>
        <p:spPr>
          <a:xfrm>
            <a:off x="3293475" y="4617132"/>
            <a:ext cx="252000" cy="252000"/>
          </a:xfrm>
          <a:prstGeom prst="ellipse">
            <a:avLst/>
          </a:prstGeom>
          <a:solidFill>
            <a:srgbClr val="0A1D64"/>
          </a:solidFill>
          <a:ln w="12700" cap="flat" cmpd="sng" algn="ctr">
            <a:noFill/>
            <a:prstDash val="solid"/>
          </a:ln>
          <a:effectLst/>
        </p:spPr>
        <p:txBody>
          <a:bodyPr wrap="none" lIns="35992" tIns="35992" rIns="35992" bIns="35992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 smtClean="0">
                <a:solidFill>
                  <a:srgbClr val="FFFFFF"/>
                </a:solidFill>
                <a:latin typeface="Arial"/>
                <a:cs typeface="Arial"/>
              </a:rPr>
              <a:t>B</a:t>
            </a:r>
            <a:endParaRPr lang="en-GB" sz="12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8" name="Oval 47"/>
          <p:cNvSpPr>
            <a:spLocks/>
          </p:cNvSpPr>
          <p:nvPr/>
        </p:nvSpPr>
        <p:spPr>
          <a:xfrm>
            <a:off x="6431226" y="4617132"/>
            <a:ext cx="252000" cy="252000"/>
          </a:xfrm>
          <a:prstGeom prst="ellipse">
            <a:avLst/>
          </a:prstGeom>
          <a:solidFill>
            <a:srgbClr val="0A1D64"/>
          </a:solidFill>
          <a:ln w="12700" cap="flat" cmpd="sng" algn="ctr">
            <a:noFill/>
            <a:prstDash val="solid"/>
          </a:ln>
          <a:effectLst/>
        </p:spPr>
        <p:txBody>
          <a:bodyPr wrap="none" lIns="35992" tIns="35992" rIns="35992" bIns="35992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 smtClean="0">
                <a:solidFill>
                  <a:srgbClr val="FFFFFF"/>
                </a:solidFill>
                <a:latin typeface="Arial"/>
                <a:cs typeface="Arial"/>
              </a:rPr>
              <a:t>C</a:t>
            </a:r>
            <a:endParaRPr lang="en-GB" sz="12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9" name="Oval 47"/>
          <p:cNvSpPr>
            <a:spLocks/>
          </p:cNvSpPr>
          <p:nvPr/>
        </p:nvSpPr>
        <p:spPr>
          <a:xfrm>
            <a:off x="133367" y="5877340"/>
            <a:ext cx="252000" cy="252000"/>
          </a:xfrm>
          <a:prstGeom prst="ellipse">
            <a:avLst/>
          </a:prstGeom>
          <a:solidFill>
            <a:srgbClr val="0A1D64"/>
          </a:solidFill>
          <a:ln w="12700" cap="flat" cmpd="sng" algn="ctr">
            <a:noFill/>
            <a:prstDash val="solid"/>
          </a:ln>
          <a:effectLst/>
        </p:spPr>
        <p:txBody>
          <a:bodyPr wrap="none" lIns="35992" tIns="35992" rIns="35992" bIns="35992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 smtClean="0">
                <a:solidFill>
                  <a:srgbClr val="FFFFFF"/>
                </a:solidFill>
                <a:latin typeface="Arial"/>
                <a:cs typeface="Arial"/>
              </a:rPr>
              <a:t>D</a:t>
            </a:r>
            <a:endParaRPr lang="en-GB" sz="12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22619" y="4063739"/>
            <a:ext cx="34993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800" b="1" dirty="0" smtClean="0">
                <a:solidFill>
                  <a:srgbClr val="FFFFFF"/>
                </a:solidFill>
              </a:rPr>
              <a:t>Cele strategiczne</a:t>
            </a:r>
            <a:endParaRPr lang="en-GB" sz="1800" b="1" dirty="0">
              <a:solidFill>
                <a:srgbClr val="FFFFFF"/>
              </a:solidFill>
            </a:endParaRPr>
          </a:p>
        </p:txBody>
      </p:sp>
      <p:sp>
        <p:nvSpPr>
          <p:cNvPr id="35" name="Tytuł 1"/>
          <p:cNvSpPr txBox="1">
            <a:spLocks/>
          </p:cNvSpPr>
          <p:nvPr/>
        </p:nvSpPr>
        <p:spPr bwMode="auto">
          <a:xfrm>
            <a:off x="304800" y="116632"/>
            <a:ext cx="8083623" cy="100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pl-PL" sz="2400" dirty="0"/>
              <a:t>Zaktualizowana Strategia GK PGNiG na lata </a:t>
            </a:r>
            <a:r>
              <a:rPr lang="en-US" sz="2400" dirty="0" smtClean="0"/>
              <a:t>2014-2022</a:t>
            </a:r>
            <a:r>
              <a:rPr lang="pl-PL" sz="2400" dirty="0" smtClean="0"/>
              <a:t> </a:t>
            </a:r>
            <a:r>
              <a:rPr lang="pl-PL" sz="1400" b="0" kern="0" dirty="0"/>
              <a:t>Misja, wizja, cele</a:t>
            </a:r>
          </a:p>
        </p:txBody>
      </p:sp>
    </p:spTree>
    <p:extLst>
      <p:ext uri="{BB962C8B-B14F-4D97-AF65-F5344CB8AC3E}">
        <p14:creationId xmlns:p14="http://schemas.microsoft.com/office/powerpoint/2010/main" val="783867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Prostokąt 89"/>
          <p:cNvSpPr/>
          <p:nvPr/>
        </p:nvSpPr>
        <p:spPr>
          <a:xfrm rot="10800000" flipV="1">
            <a:off x="122436" y="4755817"/>
            <a:ext cx="8917540" cy="201592"/>
          </a:xfrm>
          <a:prstGeom prst="rect">
            <a:avLst/>
          </a:prstGeom>
          <a:pattFill prst="dkDnDiag">
            <a:fgClr>
              <a:schemeClr val="tx1"/>
            </a:fgClr>
            <a:bgClr>
              <a:schemeClr val="tx1">
                <a:lumMod val="85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9263" eaLnBrk="0" hangingPunct="0">
              <a:spcBef>
                <a:spcPts val="400"/>
              </a:spcBef>
              <a:buClr>
                <a:srgbClr val="FFFFFF"/>
              </a:buClr>
              <a:buSzPct val="100000"/>
              <a:buFont typeface="Arial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US" sz="1400" dirty="0">
              <a:solidFill>
                <a:srgbClr val="0A1D64"/>
              </a:solidFill>
              <a:cs typeface="Lucida Sans Unicode" pitchFamily="34" charset="0"/>
            </a:endParaRPr>
          </a:p>
        </p:txBody>
      </p:sp>
      <p:sp>
        <p:nvSpPr>
          <p:cNvPr id="86" name="Prostokąt 85"/>
          <p:cNvSpPr/>
          <p:nvPr/>
        </p:nvSpPr>
        <p:spPr>
          <a:xfrm rot="10800000" flipV="1">
            <a:off x="122437" y="2420888"/>
            <a:ext cx="2865063" cy="390325"/>
          </a:xfrm>
          <a:prstGeom prst="rect">
            <a:avLst/>
          </a:prstGeom>
          <a:pattFill prst="dkDnDiag">
            <a:fgClr>
              <a:schemeClr val="tx1"/>
            </a:fgClr>
            <a:bgClr>
              <a:schemeClr val="tx1">
                <a:lumMod val="85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9263" eaLnBrk="0" hangingPunct="0">
              <a:spcBef>
                <a:spcPts val="400"/>
              </a:spcBef>
              <a:buClr>
                <a:srgbClr val="FFFFFF"/>
              </a:buClr>
              <a:buSzPct val="100000"/>
              <a:buFont typeface="Arial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US" sz="1400" dirty="0">
              <a:solidFill>
                <a:srgbClr val="0A1D64"/>
              </a:solidFill>
              <a:cs typeface="Lucida Sans Unicode" pitchFamily="34" charset="0"/>
            </a:endParaRPr>
          </a:p>
        </p:txBody>
      </p:sp>
      <p:sp>
        <p:nvSpPr>
          <p:cNvPr id="87" name="Prostokąt 86"/>
          <p:cNvSpPr/>
          <p:nvPr/>
        </p:nvSpPr>
        <p:spPr>
          <a:xfrm rot="10800000" flipV="1">
            <a:off x="3131777" y="2420888"/>
            <a:ext cx="2880382" cy="390325"/>
          </a:xfrm>
          <a:prstGeom prst="rect">
            <a:avLst/>
          </a:prstGeom>
          <a:pattFill prst="dkDnDiag">
            <a:fgClr>
              <a:schemeClr val="tx1"/>
            </a:fgClr>
            <a:bgClr>
              <a:schemeClr val="tx1">
                <a:lumMod val="85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9263" eaLnBrk="0" hangingPunct="0">
              <a:spcBef>
                <a:spcPts val="400"/>
              </a:spcBef>
              <a:buClr>
                <a:srgbClr val="FFFFFF"/>
              </a:buClr>
              <a:buSzPct val="100000"/>
              <a:buFont typeface="Arial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US" sz="1400" dirty="0">
              <a:solidFill>
                <a:srgbClr val="0A1D64"/>
              </a:solidFill>
              <a:cs typeface="Lucida Sans Unicode" pitchFamily="34" charset="0"/>
            </a:endParaRPr>
          </a:p>
        </p:txBody>
      </p:sp>
      <p:sp>
        <p:nvSpPr>
          <p:cNvPr id="88" name="Prostokąt 87"/>
          <p:cNvSpPr/>
          <p:nvPr/>
        </p:nvSpPr>
        <p:spPr>
          <a:xfrm rot="10800000" flipV="1">
            <a:off x="6142301" y="2420888"/>
            <a:ext cx="2880000" cy="390325"/>
          </a:xfrm>
          <a:prstGeom prst="rect">
            <a:avLst/>
          </a:prstGeom>
          <a:pattFill prst="dkDnDiag">
            <a:fgClr>
              <a:schemeClr val="tx1"/>
            </a:fgClr>
            <a:bgClr>
              <a:schemeClr val="tx1">
                <a:lumMod val="85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9263" eaLnBrk="0" hangingPunct="0">
              <a:spcBef>
                <a:spcPts val="400"/>
              </a:spcBef>
              <a:buClr>
                <a:srgbClr val="FFFFFF"/>
              </a:buClr>
              <a:buSzPct val="100000"/>
              <a:buFont typeface="Arial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US" sz="1400" dirty="0">
              <a:solidFill>
                <a:srgbClr val="0A1D64"/>
              </a:solidFill>
              <a:cs typeface="Lucida Sans Unicode" pitchFamily="34" charset="0"/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6BAD645-4E0B-44EC-8C5B-BC5A360C58F7}" type="slidenum">
              <a:rPr lang="en-GB" smtClean="0">
                <a:solidFill>
                  <a:srgbClr val="0A1D64"/>
                </a:solidFill>
              </a:rPr>
              <a:pPr/>
              <a:t>5</a:t>
            </a:fld>
            <a:endParaRPr lang="en-GB" dirty="0">
              <a:solidFill>
                <a:srgbClr val="0A1D64"/>
              </a:solidFill>
            </a:endParaRPr>
          </a:p>
        </p:txBody>
      </p:sp>
      <p:sp>
        <p:nvSpPr>
          <p:cNvPr id="43" name="Rectangle 8"/>
          <p:cNvSpPr>
            <a:spLocks noChangeArrowheads="1"/>
          </p:cNvSpPr>
          <p:nvPr/>
        </p:nvSpPr>
        <p:spPr bwMode="gray">
          <a:xfrm>
            <a:off x="107504" y="4755816"/>
            <a:ext cx="8928000" cy="1517500"/>
          </a:xfrm>
          <a:prstGeom prst="rect">
            <a:avLst/>
          </a:prstGeom>
          <a:noFill/>
          <a:ln w="19050">
            <a:solidFill>
              <a:schemeClr val="tx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91420" tIns="45710" rIns="91420" bIns="4571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kern="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46" name="Oval 45"/>
          <p:cNvSpPr>
            <a:spLocks noChangeAspect="1"/>
          </p:cNvSpPr>
          <p:nvPr/>
        </p:nvSpPr>
        <p:spPr>
          <a:xfrm>
            <a:off x="156574" y="5012383"/>
            <a:ext cx="177415" cy="175428"/>
          </a:xfrm>
          <a:prstGeom prst="ellipse">
            <a:avLst/>
          </a:prstGeom>
          <a:solidFill>
            <a:srgbClr val="FF6309"/>
          </a:solidFill>
          <a:ln w="12700" cap="flat" cmpd="sng" algn="ctr">
            <a:noFill/>
            <a:prstDash val="solid"/>
          </a:ln>
          <a:effectLst/>
        </p:spPr>
        <p:txBody>
          <a:bodyPr wrap="none" lIns="35992" tIns="35992" rIns="35992" bIns="35992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8a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7" name="Rectangle 14"/>
          <p:cNvSpPr>
            <a:spLocks noChangeArrowheads="1"/>
          </p:cNvSpPr>
          <p:nvPr/>
        </p:nvSpPr>
        <p:spPr bwMode="gray">
          <a:xfrm>
            <a:off x="107505" y="2462427"/>
            <a:ext cx="2880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24000" tIns="0" rIns="0" bIns="0" anchor="t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ct val="20000"/>
              </a:spcAft>
              <a:buClr>
                <a:srgbClr val="3264FF"/>
              </a:buClr>
              <a:defRPr/>
            </a:pPr>
            <a:r>
              <a:rPr lang="pl-PL" sz="1000" b="1" kern="0" dirty="0">
                <a:solidFill>
                  <a:srgbClr val="0A1D64"/>
                </a:solidFill>
                <a:latin typeface="Arial"/>
                <a:cs typeface="Arial"/>
              </a:rPr>
              <a:t>Utrzymanie wartości w obrocie (detalicznym i hurtowym)</a:t>
            </a:r>
          </a:p>
        </p:txBody>
      </p:sp>
      <p:sp>
        <p:nvSpPr>
          <p:cNvPr id="48" name="Oval 47"/>
          <p:cNvSpPr>
            <a:spLocks noChangeAspect="1"/>
          </p:cNvSpPr>
          <p:nvPr/>
        </p:nvSpPr>
        <p:spPr>
          <a:xfrm>
            <a:off x="156572" y="2514150"/>
            <a:ext cx="177415" cy="173553"/>
          </a:xfrm>
          <a:prstGeom prst="ellipse">
            <a:avLst/>
          </a:prstGeom>
          <a:solidFill>
            <a:srgbClr val="0A1D64"/>
          </a:solidFill>
          <a:ln w="12700" cap="flat" cmpd="sng" algn="ctr">
            <a:noFill/>
            <a:prstDash val="solid"/>
          </a:ln>
          <a:effectLst/>
        </p:spPr>
        <p:txBody>
          <a:bodyPr wrap="none" lIns="35992" tIns="35992" rIns="35992" bIns="35992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50" name="Oval 50"/>
          <p:cNvSpPr>
            <a:spLocks noChangeAspect="1"/>
          </p:cNvSpPr>
          <p:nvPr/>
        </p:nvSpPr>
        <p:spPr>
          <a:xfrm>
            <a:off x="156572" y="2982358"/>
            <a:ext cx="176400" cy="172559"/>
          </a:xfrm>
          <a:prstGeom prst="ellipse">
            <a:avLst/>
          </a:prstGeom>
          <a:solidFill>
            <a:srgbClr val="0768A9"/>
          </a:solidFill>
          <a:ln w="12700" cap="flat" cmpd="sng" algn="ctr">
            <a:noFill/>
            <a:prstDash val="soli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1a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52" name="Oval 52"/>
          <p:cNvSpPr>
            <a:spLocks noChangeAspect="1"/>
          </p:cNvSpPr>
          <p:nvPr/>
        </p:nvSpPr>
        <p:spPr>
          <a:xfrm>
            <a:off x="156572" y="4029053"/>
            <a:ext cx="176400" cy="172559"/>
          </a:xfrm>
          <a:prstGeom prst="ellipse">
            <a:avLst/>
          </a:prstGeom>
          <a:solidFill>
            <a:srgbClr val="0768A9"/>
          </a:solidFill>
          <a:ln w="12700" cap="flat" cmpd="sng" algn="ctr">
            <a:noFill/>
            <a:prstDash val="soli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2a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53" name="Rectangle 14"/>
          <p:cNvSpPr>
            <a:spLocks noChangeArrowheads="1"/>
          </p:cNvSpPr>
          <p:nvPr/>
        </p:nvSpPr>
        <p:spPr bwMode="gray">
          <a:xfrm>
            <a:off x="6142302" y="2462427"/>
            <a:ext cx="289767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24000" tIns="0" rIns="0" bIns="0" anchor="t">
            <a:spAutoFit/>
          </a:bodyPr>
          <a:lstStyle/>
          <a:p>
            <a:pPr defTabSz="895350" fontAlgn="auto">
              <a:spcBef>
                <a:spcPts val="0"/>
              </a:spcBef>
              <a:spcAft>
                <a:spcPct val="20000"/>
              </a:spcAft>
              <a:buClr>
                <a:srgbClr val="3264FF"/>
              </a:buClr>
              <a:defRPr/>
            </a:pPr>
            <a:r>
              <a:rPr lang="pl-PL" sz="1000" b="1" kern="0" dirty="0">
                <a:solidFill>
                  <a:srgbClr val="0A1D64"/>
                </a:solidFill>
                <a:latin typeface="Arial"/>
                <a:cs typeface="Arial"/>
              </a:rPr>
              <a:t>Wzmocnienie i transformacja obszaru poszukiwań i wydobycia</a:t>
            </a:r>
          </a:p>
        </p:txBody>
      </p:sp>
      <p:sp>
        <p:nvSpPr>
          <p:cNvPr id="54" name="Oval 61"/>
          <p:cNvSpPr>
            <a:spLocks noChangeAspect="1"/>
          </p:cNvSpPr>
          <p:nvPr/>
        </p:nvSpPr>
        <p:spPr>
          <a:xfrm>
            <a:off x="6179687" y="2514150"/>
            <a:ext cx="177415" cy="173553"/>
          </a:xfrm>
          <a:prstGeom prst="ellipse">
            <a:avLst/>
          </a:prstGeom>
          <a:solidFill>
            <a:srgbClr val="0A1D64"/>
          </a:solidFill>
          <a:ln w="12700" cap="flat" cmpd="sng" algn="ctr">
            <a:noFill/>
            <a:prstDash val="solid"/>
          </a:ln>
          <a:effectLst/>
        </p:spPr>
        <p:txBody>
          <a:bodyPr wrap="none" lIns="35992" tIns="35992" rIns="35992" bIns="35992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C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56" name="Oval 64"/>
          <p:cNvSpPr>
            <a:spLocks noChangeAspect="1"/>
          </p:cNvSpPr>
          <p:nvPr/>
        </p:nvSpPr>
        <p:spPr>
          <a:xfrm>
            <a:off x="6180702" y="2900016"/>
            <a:ext cx="176400" cy="172559"/>
          </a:xfrm>
          <a:prstGeom prst="ellipse">
            <a:avLst/>
          </a:prstGeom>
          <a:solidFill>
            <a:srgbClr val="FF6309"/>
          </a:solidFill>
          <a:ln w="12700" cap="flat" cmpd="sng" algn="ctr">
            <a:noFill/>
            <a:prstDash val="soli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5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58" name="Oval 66"/>
          <p:cNvSpPr>
            <a:spLocks noChangeAspect="1"/>
          </p:cNvSpPr>
          <p:nvPr/>
        </p:nvSpPr>
        <p:spPr>
          <a:xfrm>
            <a:off x="6180702" y="3363186"/>
            <a:ext cx="176400" cy="172559"/>
          </a:xfrm>
          <a:prstGeom prst="ellipse">
            <a:avLst/>
          </a:prstGeom>
          <a:solidFill>
            <a:srgbClr val="FF6309"/>
          </a:solidFill>
          <a:ln w="12700" cap="flat" cmpd="sng" algn="ctr">
            <a:noFill/>
            <a:prstDash val="soli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6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0" name="Oval 68"/>
          <p:cNvSpPr>
            <a:spLocks noChangeAspect="1"/>
          </p:cNvSpPr>
          <p:nvPr/>
        </p:nvSpPr>
        <p:spPr>
          <a:xfrm>
            <a:off x="6180702" y="3789040"/>
            <a:ext cx="176400" cy="172559"/>
          </a:xfrm>
          <a:prstGeom prst="ellipse">
            <a:avLst/>
          </a:prstGeom>
          <a:solidFill>
            <a:srgbClr val="FF6309"/>
          </a:solidFill>
          <a:ln w="12700" cap="flat" cmpd="sng" algn="ctr">
            <a:noFill/>
            <a:prstDash val="soli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7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1" name="Rectangle 14"/>
          <p:cNvSpPr>
            <a:spLocks noChangeArrowheads="1"/>
          </p:cNvSpPr>
          <p:nvPr/>
        </p:nvSpPr>
        <p:spPr bwMode="gray">
          <a:xfrm>
            <a:off x="3132160" y="2462427"/>
            <a:ext cx="27899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24000" tIns="0" rIns="0" bIns="0" anchor="t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ct val="20000"/>
              </a:spcAft>
              <a:buClr>
                <a:srgbClr val="3264FF"/>
              </a:buClr>
              <a:defRPr/>
            </a:pPr>
            <a:r>
              <a:rPr lang="pl-PL" sz="1000" b="1" kern="0" dirty="0">
                <a:solidFill>
                  <a:srgbClr val="0A1D64"/>
                </a:solidFill>
                <a:latin typeface="Arial"/>
                <a:cs typeface="Arial"/>
              </a:rPr>
              <a:t>Maksymalizacja przepływów </a:t>
            </a:r>
            <a:br>
              <a:rPr lang="pl-PL" sz="1000" b="1" kern="0" dirty="0">
                <a:solidFill>
                  <a:srgbClr val="0A1D64"/>
                </a:solidFill>
                <a:latin typeface="Arial"/>
                <a:cs typeface="Arial"/>
              </a:rPr>
            </a:br>
            <a:r>
              <a:rPr lang="pl-PL" sz="1000" b="1" kern="0" dirty="0">
                <a:solidFill>
                  <a:srgbClr val="0A1D64"/>
                </a:solidFill>
                <a:latin typeface="Arial"/>
                <a:cs typeface="Arial"/>
              </a:rPr>
              <a:t>z obszarów infrastruktury i wytwarzania</a:t>
            </a:r>
          </a:p>
        </p:txBody>
      </p:sp>
      <p:sp>
        <p:nvSpPr>
          <p:cNvPr id="62" name="Oval 82"/>
          <p:cNvSpPr>
            <a:spLocks noChangeAspect="1"/>
          </p:cNvSpPr>
          <p:nvPr/>
        </p:nvSpPr>
        <p:spPr>
          <a:xfrm>
            <a:off x="3158247" y="2514150"/>
            <a:ext cx="177415" cy="173553"/>
          </a:xfrm>
          <a:prstGeom prst="ellipse">
            <a:avLst/>
          </a:prstGeom>
          <a:solidFill>
            <a:srgbClr val="0A1D64"/>
          </a:solidFill>
          <a:ln w="12700" cap="flat" cmpd="sng" algn="ctr">
            <a:noFill/>
            <a:prstDash val="solid"/>
          </a:ln>
          <a:effectLst/>
        </p:spPr>
        <p:txBody>
          <a:bodyPr wrap="none" lIns="35992" tIns="35992" rIns="35992" bIns="35992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B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4" name="Oval 85"/>
          <p:cNvSpPr>
            <a:spLocks noChangeAspect="1"/>
          </p:cNvSpPr>
          <p:nvPr/>
        </p:nvSpPr>
        <p:spPr>
          <a:xfrm>
            <a:off x="3158247" y="2898096"/>
            <a:ext cx="180326" cy="176400"/>
          </a:xfrm>
          <a:prstGeom prst="ellipse">
            <a:avLst/>
          </a:prstGeom>
          <a:solidFill>
            <a:srgbClr val="FF6309"/>
          </a:solidFill>
          <a:ln w="12700" cap="flat" cmpd="sng" algn="ctr">
            <a:noFill/>
            <a:prstDash val="soli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3a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6" name="Oval 91"/>
          <p:cNvSpPr>
            <a:spLocks noChangeAspect="1"/>
          </p:cNvSpPr>
          <p:nvPr/>
        </p:nvSpPr>
        <p:spPr>
          <a:xfrm>
            <a:off x="3158247" y="3689339"/>
            <a:ext cx="180326" cy="176400"/>
          </a:xfrm>
          <a:prstGeom prst="ellipse">
            <a:avLst/>
          </a:prstGeom>
          <a:solidFill>
            <a:srgbClr val="0768A9"/>
          </a:solidFill>
          <a:ln w="12700" cap="flat" cmpd="sng" algn="ctr">
            <a:noFill/>
            <a:prstDash val="soli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4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8" name="Rectangle 14"/>
          <p:cNvSpPr>
            <a:spLocks noChangeArrowheads="1"/>
          </p:cNvSpPr>
          <p:nvPr/>
        </p:nvSpPr>
        <p:spPr bwMode="gray">
          <a:xfrm>
            <a:off x="369825" y="4790390"/>
            <a:ext cx="574154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/>
          <a:p>
            <a:pPr defTabSz="895350" fontAlgn="auto">
              <a:spcBef>
                <a:spcPts val="0"/>
              </a:spcBef>
              <a:spcAft>
                <a:spcPct val="20000"/>
              </a:spcAft>
              <a:buClr>
                <a:srgbClr val="3264FF"/>
              </a:buClr>
              <a:defRPr/>
            </a:pPr>
            <a:r>
              <a:rPr lang="pl-PL" sz="1000" b="1" kern="0" dirty="0">
                <a:solidFill>
                  <a:srgbClr val="0A1D64"/>
                </a:solidFill>
                <a:latin typeface="Arial"/>
                <a:cs typeface="Arial"/>
              </a:rPr>
              <a:t>Zbudowanie fundamentów wzrostu w całym łańcuchu wartości</a:t>
            </a:r>
          </a:p>
        </p:txBody>
      </p:sp>
      <p:sp>
        <p:nvSpPr>
          <p:cNvPr id="69" name="Oval 41"/>
          <p:cNvSpPr>
            <a:spLocks noChangeAspect="1"/>
          </p:cNvSpPr>
          <p:nvPr/>
        </p:nvSpPr>
        <p:spPr>
          <a:xfrm>
            <a:off x="156574" y="4779620"/>
            <a:ext cx="177415" cy="175428"/>
          </a:xfrm>
          <a:prstGeom prst="ellipse">
            <a:avLst/>
          </a:prstGeom>
          <a:solidFill>
            <a:srgbClr val="0A1D64"/>
          </a:solidFill>
          <a:ln w="12700" cap="flat" cmpd="sng" algn="ctr">
            <a:noFill/>
            <a:prstDash val="solid"/>
          </a:ln>
          <a:effectLst/>
        </p:spPr>
        <p:txBody>
          <a:bodyPr wrap="none" lIns="35992" tIns="35992" rIns="35992" bIns="35992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D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2" name="Oval 45"/>
          <p:cNvSpPr>
            <a:spLocks noChangeAspect="1"/>
          </p:cNvSpPr>
          <p:nvPr/>
        </p:nvSpPr>
        <p:spPr>
          <a:xfrm>
            <a:off x="156574" y="5774082"/>
            <a:ext cx="177415" cy="175428"/>
          </a:xfrm>
          <a:prstGeom prst="ellipse">
            <a:avLst/>
          </a:prstGeom>
          <a:solidFill>
            <a:srgbClr val="FF6309"/>
          </a:solidFill>
          <a:ln w="12700" cap="flat" cmpd="sng" algn="ctr">
            <a:noFill/>
            <a:prstDash val="solid"/>
          </a:ln>
          <a:effectLst/>
        </p:spPr>
        <p:txBody>
          <a:bodyPr wrap="none" lIns="35992" tIns="35992" rIns="35992" bIns="35992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9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3" name="Oval 45"/>
          <p:cNvSpPr>
            <a:spLocks noChangeAspect="1"/>
          </p:cNvSpPr>
          <p:nvPr/>
        </p:nvSpPr>
        <p:spPr>
          <a:xfrm>
            <a:off x="156574" y="6026804"/>
            <a:ext cx="177415" cy="175428"/>
          </a:xfrm>
          <a:prstGeom prst="ellipse">
            <a:avLst/>
          </a:prstGeom>
          <a:solidFill>
            <a:srgbClr val="0768A9"/>
          </a:solidFill>
          <a:ln w="12700" cap="flat" cmpd="sng" algn="ctr">
            <a:noFill/>
            <a:prstDash val="solid"/>
          </a:ln>
          <a:effectLst/>
        </p:spPr>
        <p:txBody>
          <a:bodyPr wrap="none" lIns="35992" tIns="35992" rIns="35992" bIns="35992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10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5" name="Oval 85"/>
          <p:cNvSpPr>
            <a:spLocks noChangeAspect="1"/>
          </p:cNvSpPr>
          <p:nvPr/>
        </p:nvSpPr>
        <p:spPr>
          <a:xfrm>
            <a:off x="3158247" y="3293718"/>
            <a:ext cx="180326" cy="176400"/>
          </a:xfrm>
          <a:prstGeom prst="ellipse">
            <a:avLst/>
          </a:prstGeom>
          <a:solidFill>
            <a:srgbClr val="FF6309"/>
          </a:solidFill>
          <a:ln w="12700" cap="flat" cmpd="sng" algn="ctr">
            <a:noFill/>
            <a:prstDash val="soli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3b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7" name="Oval 45"/>
          <p:cNvSpPr>
            <a:spLocks noChangeAspect="1"/>
          </p:cNvSpPr>
          <p:nvPr/>
        </p:nvSpPr>
        <p:spPr>
          <a:xfrm>
            <a:off x="156574" y="5251649"/>
            <a:ext cx="177415" cy="175428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txBody>
          <a:bodyPr wrap="none" lIns="35992" tIns="35992" rIns="35992" bIns="35992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8b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9" name="Oval 64"/>
          <p:cNvSpPr>
            <a:spLocks noChangeAspect="1"/>
          </p:cNvSpPr>
          <p:nvPr/>
        </p:nvSpPr>
        <p:spPr>
          <a:xfrm>
            <a:off x="156572" y="3717994"/>
            <a:ext cx="176400" cy="172559"/>
          </a:xfrm>
          <a:prstGeom prst="ellipse">
            <a:avLst/>
          </a:prstGeom>
          <a:solidFill>
            <a:srgbClr val="0768A9"/>
          </a:solidFill>
          <a:ln w="12700" cap="flat" cmpd="sng" algn="ctr">
            <a:noFill/>
            <a:prstDash val="soli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1c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81" name="Oval 66"/>
          <p:cNvSpPr>
            <a:spLocks noChangeAspect="1"/>
          </p:cNvSpPr>
          <p:nvPr/>
        </p:nvSpPr>
        <p:spPr>
          <a:xfrm>
            <a:off x="156572" y="3363187"/>
            <a:ext cx="176400" cy="172559"/>
          </a:xfrm>
          <a:prstGeom prst="ellipse">
            <a:avLst/>
          </a:prstGeom>
          <a:solidFill>
            <a:srgbClr val="0768A9"/>
          </a:solidFill>
          <a:ln w="12700" cap="flat" cmpd="sng" algn="ctr">
            <a:noFill/>
            <a:prstDash val="soli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1b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83" name="Oval 68"/>
          <p:cNvSpPr>
            <a:spLocks noChangeAspect="1"/>
          </p:cNvSpPr>
          <p:nvPr/>
        </p:nvSpPr>
        <p:spPr>
          <a:xfrm>
            <a:off x="156572" y="4345315"/>
            <a:ext cx="176400" cy="172559"/>
          </a:xfrm>
          <a:prstGeom prst="ellipse">
            <a:avLst/>
          </a:prstGeom>
          <a:solidFill>
            <a:srgbClr val="0768A9"/>
          </a:solidFill>
          <a:ln w="12700" cap="flat" cmpd="sng" algn="ctr">
            <a:noFill/>
            <a:prstDash val="solid"/>
          </a:ln>
          <a:effectLst/>
        </p:spPr>
        <p:txBody>
          <a:bodyPr wrap="none" lIns="36000" tIns="36000" rIns="36000" bIns="36000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2b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85" name="Oval 45"/>
          <p:cNvSpPr>
            <a:spLocks noChangeAspect="1"/>
          </p:cNvSpPr>
          <p:nvPr/>
        </p:nvSpPr>
        <p:spPr>
          <a:xfrm>
            <a:off x="156574" y="5504475"/>
            <a:ext cx="177415" cy="175428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</a:ln>
          <a:effectLst/>
        </p:spPr>
        <p:txBody>
          <a:bodyPr wrap="none" lIns="35992" tIns="35992" rIns="35992" bIns="35992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kern="0" dirty="0" smtClean="0">
                <a:solidFill>
                  <a:srgbClr val="FFFFFF"/>
                </a:solidFill>
                <a:latin typeface="Arial"/>
                <a:cs typeface="Arial"/>
              </a:rPr>
              <a:t>8c</a:t>
            </a:r>
            <a:endParaRPr lang="en-GB" sz="9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89" name="Rectangle 11"/>
          <p:cNvSpPr>
            <a:spLocks noChangeArrowheads="1"/>
          </p:cNvSpPr>
          <p:nvPr/>
        </p:nvSpPr>
        <p:spPr bwMode="gray">
          <a:xfrm>
            <a:off x="107504" y="1365063"/>
            <a:ext cx="8932472" cy="961106"/>
          </a:xfrm>
          <a:prstGeom prst="triangle">
            <a:avLst/>
          </a:prstGeom>
          <a:solidFill>
            <a:srgbClr val="0A1D64"/>
          </a:solidFill>
          <a:ln>
            <a:noFill/>
          </a:ln>
          <a:extLst/>
        </p:spPr>
        <p:txBody>
          <a:bodyPr wrap="none" anchor="ctr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buClr>
                <a:srgbClr val="0A1D64"/>
              </a:buClr>
            </a:pPr>
            <a:endParaRPr lang="en-GB" sz="9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2303748" y="2025989"/>
            <a:ext cx="46445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400" b="1" dirty="0">
                <a:solidFill>
                  <a:srgbClr val="FFFFFF"/>
                </a:solidFill>
              </a:rPr>
              <a:t>Strategia GK PGNiG na lata 2014-2022</a:t>
            </a:r>
          </a:p>
        </p:txBody>
      </p:sp>
      <p:pic>
        <p:nvPicPr>
          <p:cNvPr id="1027" name="Picture 3" descr="C:\Users\waw10027740\Documents\PGNiG\Informacje o PGNiG\Szbalony oraz identyfikacja wizualna PGNiG\Znak\Znak bez nazwy prawnej\znak bez jednokolorowy inwers\znak_bez_jednokolor_inwers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3" t="14973" r="12521" b="16667"/>
          <a:stretch/>
        </p:blipFill>
        <p:spPr bwMode="auto">
          <a:xfrm>
            <a:off x="4195259" y="1478496"/>
            <a:ext cx="740410" cy="531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Oval 45"/>
          <p:cNvSpPr>
            <a:spLocks noChangeAspect="1"/>
          </p:cNvSpPr>
          <p:nvPr/>
        </p:nvSpPr>
        <p:spPr>
          <a:xfrm>
            <a:off x="2771800" y="6349916"/>
            <a:ext cx="177415" cy="175428"/>
          </a:xfrm>
          <a:prstGeom prst="ellipse">
            <a:avLst/>
          </a:prstGeom>
          <a:solidFill>
            <a:srgbClr val="0768A9"/>
          </a:solidFill>
          <a:ln w="12700" cap="flat" cmpd="sng" algn="ctr">
            <a:noFill/>
            <a:prstDash val="solid"/>
          </a:ln>
          <a:effectLst/>
        </p:spPr>
        <p:txBody>
          <a:bodyPr wrap="none" lIns="35992" tIns="35992" rIns="35992" bIns="35992" rtlCol="0" anchor="ctr" anchorCtr="1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900" b="1" kern="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94" name="Rectangle 7"/>
          <p:cNvSpPr>
            <a:spLocks noChangeArrowheads="1"/>
          </p:cNvSpPr>
          <p:nvPr/>
        </p:nvSpPr>
        <p:spPr bwMode="gray">
          <a:xfrm>
            <a:off x="3032476" y="6368381"/>
            <a:ext cx="492390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300"/>
              </a:spcBef>
              <a:spcAft>
                <a:spcPts val="0"/>
              </a:spcAft>
              <a:buClr>
                <a:srgbClr val="3264FF"/>
              </a:buClr>
              <a:defRPr/>
            </a:pPr>
            <a:r>
              <a:rPr lang="pl-PL" sz="900" b="1" kern="0" dirty="0">
                <a:solidFill>
                  <a:srgbClr val="0768A9"/>
                </a:solidFill>
                <a:latin typeface="Arial"/>
                <a:cs typeface="Arial"/>
              </a:rPr>
              <a:t>Kolorem </a:t>
            </a:r>
            <a:r>
              <a:rPr lang="pl-PL" sz="900" b="1" kern="0" dirty="0" smtClean="0">
                <a:solidFill>
                  <a:srgbClr val="0768A9"/>
                </a:solidFill>
                <a:latin typeface="Arial"/>
                <a:cs typeface="Arial"/>
              </a:rPr>
              <a:t>niebieskim </a:t>
            </a:r>
            <a:r>
              <a:rPr lang="pl-PL" sz="900" b="1" kern="0" dirty="0">
                <a:solidFill>
                  <a:srgbClr val="0768A9"/>
                </a:solidFill>
                <a:latin typeface="Arial"/>
                <a:cs typeface="Arial"/>
              </a:rPr>
              <a:t>zaznaczono inicjatywy nowe lub zmodyfikowane</a:t>
            </a:r>
          </a:p>
        </p:txBody>
      </p:sp>
      <p:sp>
        <p:nvSpPr>
          <p:cNvPr id="34" name="Rectangle 4"/>
          <p:cNvSpPr>
            <a:spLocks noChangeArrowheads="1"/>
          </p:cNvSpPr>
          <p:nvPr/>
        </p:nvSpPr>
        <p:spPr bwMode="gray">
          <a:xfrm>
            <a:off x="6142302" y="2420889"/>
            <a:ext cx="2880000" cy="2232246"/>
          </a:xfrm>
          <a:prstGeom prst="rect">
            <a:avLst/>
          </a:prstGeom>
          <a:noFill/>
          <a:ln w="19050">
            <a:solidFill>
              <a:schemeClr val="tx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91420" tIns="45710" rIns="91420" bIns="4571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kern="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5" name="Rectangle 4"/>
          <p:cNvSpPr>
            <a:spLocks noChangeArrowheads="1"/>
          </p:cNvSpPr>
          <p:nvPr/>
        </p:nvSpPr>
        <p:spPr bwMode="gray">
          <a:xfrm>
            <a:off x="107504" y="2420888"/>
            <a:ext cx="2880000" cy="2232248"/>
          </a:xfrm>
          <a:prstGeom prst="rect">
            <a:avLst/>
          </a:prstGeom>
          <a:noFill/>
          <a:ln w="19050">
            <a:solidFill>
              <a:schemeClr val="tx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91420" tIns="45710" rIns="91420" bIns="4571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kern="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6" name="Rectangle 4"/>
          <p:cNvSpPr>
            <a:spLocks noChangeArrowheads="1"/>
          </p:cNvSpPr>
          <p:nvPr/>
        </p:nvSpPr>
        <p:spPr bwMode="gray">
          <a:xfrm>
            <a:off x="3132160" y="2420888"/>
            <a:ext cx="2880000" cy="2232247"/>
          </a:xfrm>
          <a:prstGeom prst="rect">
            <a:avLst/>
          </a:prstGeom>
          <a:noFill/>
          <a:ln w="19050">
            <a:solidFill>
              <a:schemeClr val="tx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lIns="91420" tIns="45710" rIns="91420" bIns="4571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kern="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7" name="Rectangle 7"/>
          <p:cNvSpPr>
            <a:spLocks noChangeArrowheads="1"/>
          </p:cNvSpPr>
          <p:nvPr/>
        </p:nvSpPr>
        <p:spPr bwMode="gray">
          <a:xfrm>
            <a:off x="395816" y="2847797"/>
            <a:ext cx="2520000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300"/>
              </a:spcBef>
              <a:spcAft>
                <a:spcPts val="0"/>
              </a:spcAft>
              <a:buClr>
                <a:srgbClr val="3264FF"/>
              </a:buClr>
              <a:defRPr/>
            </a:pPr>
            <a:r>
              <a:rPr lang="pl-PL" sz="900" kern="0" dirty="0">
                <a:solidFill>
                  <a:srgbClr val="0768A9"/>
                </a:solidFill>
                <a:latin typeface="Arial"/>
                <a:cs typeface="Arial"/>
              </a:rPr>
              <a:t>Optymalizacja zarządzania portfelem gazu ziemnego oraz wdrożenie nowego modelu sprzedaży hurtowej</a:t>
            </a:r>
          </a:p>
        </p:txBody>
      </p:sp>
      <p:sp>
        <p:nvSpPr>
          <p:cNvPr id="71" name="Rectangle 7"/>
          <p:cNvSpPr>
            <a:spLocks noChangeArrowheads="1"/>
          </p:cNvSpPr>
          <p:nvPr/>
        </p:nvSpPr>
        <p:spPr bwMode="gray">
          <a:xfrm>
            <a:off x="395816" y="3966396"/>
            <a:ext cx="252000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300"/>
              </a:spcBef>
              <a:spcAft>
                <a:spcPts val="0"/>
              </a:spcAft>
              <a:buClr>
                <a:srgbClr val="3264FF"/>
              </a:buClr>
              <a:defRPr/>
            </a:pPr>
            <a:r>
              <a:rPr lang="pl-PL" sz="900" kern="0" dirty="0">
                <a:solidFill>
                  <a:srgbClr val="0768A9"/>
                </a:solidFill>
                <a:latin typeface="Arial"/>
                <a:cs typeface="Arial"/>
              </a:rPr>
              <a:t>Opracowanie i wdrożenie nowego modelu sprzedaży </a:t>
            </a:r>
            <a:r>
              <a:rPr lang="pl-PL" sz="900" kern="0" dirty="0" smtClean="0">
                <a:solidFill>
                  <a:srgbClr val="0768A9"/>
                </a:solidFill>
                <a:latin typeface="Arial"/>
                <a:cs typeface="Arial"/>
              </a:rPr>
              <a:t>detalicznej</a:t>
            </a:r>
            <a:endParaRPr lang="pl-PL" sz="900" strike="sngStrike" kern="0" dirty="0">
              <a:solidFill>
                <a:srgbClr val="0768A9"/>
              </a:solidFill>
              <a:latin typeface="Arial"/>
              <a:cs typeface="Arial"/>
            </a:endParaRPr>
          </a:p>
        </p:txBody>
      </p:sp>
      <p:sp>
        <p:nvSpPr>
          <p:cNvPr id="91" name="Rectangle 7"/>
          <p:cNvSpPr>
            <a:spLocks noChangeArrowheads="1"/>
          </p:cNvSpPr>
          <p:nvPr/>
        </p:nvSpPr>
        <p:spPr bwMode="gray">
          <a:xfrm>
            <a:off x="6394202" y="2847797"/>
            <a:ext cx="234000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300"/>
              </a:spcBef>
              <a:spcAft>
                <a:spcPts val="0"/>
              </a:spcAft>
              <a:buClr>
                <a:srgbClr val="3264FF"/>
              </a:buClr>
              <a:defRPr/>
            </a:pPr>
            <a:r>
              <a:rPr lang="pl-PL" sz="900" kern="0" dirty="0">
                <a:solidFill>
                  <a:srgbClr val="0A1D64"/>
                </a:solidFill>
                <a:latin typeface="Arial"/>
                <a:cs typeface="Arial"/>
              </a:rPr>
              <a:t>Utrzymanie wydobycia krajowego ze złóż konwencjonalnych</a:t>
            </a:r>
          </a:p>
        </p:txBody>
      </p:sp>
      <p:sp>
        <p:nvSpPr>
          <p:cNvPr id="95" name="Rectangle 7"/>
          <p:cNvSpPr>
            <a:spLocks noChangeArrowheads="1"/>
          </p:cNvSpPr>
          <p:nvPr/>
        </p:nvSpPr>
        <p:spPr bwMode="gray">
          <a:xfrm>
            <a:off x="6394202" y="3243333"/>
            <a:ext cx="2340000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300"/>
              </a:spcBef>
              <a:spcAft>
                <a:spcPts val="0"/>
              </a:spcAft>
              <a:buClr>
                <a:srgbClr val="3264FF"/>
              </a:buClr>
              <a:defRPr/>
            </a:pPr>
            <a:r>
              <a:rPr lang="pl-PL" sz="900" kern="0" dirty="0">
                <a:solidFill>
                  <a:srgbClr val="0A1D64"/>
                </a:solidFill>
                <a:latin typeface="Arial"/>
                <a:cs typeface="Arial"/>
              </a:rPr>
              <a:t>Potwierdzenie geologicznego </a:t>
            </a:r>
            <a:br>
              <a:rPr lang="pl-PL" sz="900" kern="0" dirty="0">
                <a:solidFill>
                  <a:srgbClr val="0A1D64"/>
                </a:solidFill>
                <a:latin typeface="Arial"/>
                <a:cs typeface="Arial"/>
              </a:rPr>
            </a:br>
            <a:r>
              <a:rPr lang="pl-PL" sz="900" kern="0" dirty="0">
                <a:solidFill>
                  <a:srgbClr val="0A1D64"/>
                </a:solidFill>
                <a:latin typeface="Arial"/>
                <a:cs typeface="Arial"/>
              </a:rPr>
              <a:t>i ekonomicznego potencjału złóż typu shale gas w Polsce</a:t>
            </a:r>
          </a:p>
        </p:txBody>
      </p:sp>
      <p:sp>
        <p:nvSpPr>
          <p:cNvPr id="96" name="Rectangle 7"/>
          <p:cNvSpPr>
            <a:spLocks noChangeArrowheads="1"/>
          </p:cNvSpPr>
          <p:nvPr/>
        </p:nvSpPr>
        <p:spPr bwMode="gray">
          <a:xfrm>
            <a:off x="6394202" y="3752054"/>
            <a:ext cx="234000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300"/>
              </a:spcBef>
              <a:spcAft>
                <a:spcPts val="0"/>
              </a:spcAft>
              <a:buClr>
                <a:srgbClr val="3264FF"/>
              </a:buClr>
              <a:defRPr/>
            </a:pPr>
            <a:r>
              <a:rPr lang="pl-PL" sz="900" kern="0" dirty="0">
                <a:solidFill>
                  <a:srgbClr val="0A1D64"/>
                </a:solidFill>
                <a:latin typeface="Arial"/>
                <a:cs typeface="Arial"/>
              </a:rPr>
              <a:t>Rozwój działalności upstream poza granicami Polski </a:t>
            </a:r>
          </a:p>
        </p:txBody>
      </p:sp>
      <p:sp>
        <p:nvSpPr>
          <p:cNvPr id="97" name="Rectangle 7"/>
          <p:cNvSpPr>
            <a:spLocks noChangeArrowheads="1"/>
          </p:cNvSpPr>
          <p:nvPr/>
        </p:nvSpPr>
        <p:spPr bwMode="gray">
          <a:xfrm>
            <a:off x="3400309" y="2847797"/>
            <a:ext cx="252000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300"/>
              </a:spcBef>
              <a:spcAft>
                <a:spcPts val="0"/>
              </a:spcAft>
              <a:buClr>
                <a:srgbClr val="3264FF"/>
              </a:buClr>
              <a:defRPr/>
            </a:pPr>
            <a:r>
              <a:rPr lang="pl-PL" sz="900" kern="0" dirty="0">
                <a:solidFill>
                  <a:srgbClr val="0A1D64"/>
                </a:solidFill>
                <a:latin typeface="Arial"/>
                <a:cs typeface="Arial"/>
              </a:rPr>
              <a:t>Maksymalizacja wartości </a:t>
            </a:r>
            <a:r>
              <a:rPr lang="pl-PL" sz="900" kern="0" dirty="0" smtClean="0">
                <a:solidFill>
                  <a:srgbClr val="0A1D64"/>
                </a:solidFill>
                <a:latin typeface="Arial"/>
                <a:cs typeface="Arial"/>
              </a:rPr>
              <a:t>w </a:t>
            </a:r>
            <a:r>
              <a:rPr lang="pl-PL" sz="900" kern="0" dirty="0">
                <a:solidFill>
                  <a:srgbClr val="0A1D64"/>
                </a:solidFill>
                <a:latin typeface="Arial"/>
                <a:cs typeface="Arial"/>
              </a:rPr>
              <a:t>obszarze infrastruktury sieciowej – dystrybucja gazu</a:t>
            </a:r>
          </a:p>
        </p:txBody>
      </p:sp>
      <p:sp>
        <p:nvSpPr>
          <p:cNvPr id="98" name="Rectangle 7"/>
          <p:cNvSpPr>
            <a:spLocks noChangeArrowheads="1"/>
          </p:cNvSpPr>
          <p:nvPr/>
        </p:nvSpPr>
        <p:spPr bwMode="gray">
          <a:xfrm>
            <a:off x="3400309" y="3639040"/>
            <a:ext cx="252000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300"/>
              </a:spcBef>
              <a:spcAft>
                <a:spcPts val="0"/>
              </a:spcAft>
              <a:buClr>
                <a:srgbClr val="3264FF"/>
              </a:buClr>
              <a:defRPr/>
            </a:pPr>
            <a:r>
              <a:rPr lang="pl-PL" sz="900" kern="0" dirty="0">
                <a:solidFill>
                  <a:srgbClr val="0768A9"/>
                </a:solidFill>
                <a:latin typeface="Arial"/>
                <a:cs typeface="Arial"/>
              </a:rPr>
              <a:t>Aktywny udział we współtworzeniu regulacji dotyczących rynku nośników energii</a:t>
            </a:r>
          </a:p>
        </p:txBody>
      </p:sp>
      <p:sp>
        <p:nvSpPr>
          <p:cNvPr id="99" name="Rectangle 7"/>
          <p:cNvSpPr>
            <a:spLocks noChangeArrowheads="1"/>
          </p:cNvSpPr>
          <p:nvPr/>
        </p:nvSpPr>
        <p:spPr bwMode="gray">
          <a:xfrm>
            <a:off x="3402086" y="3243419"/>
            <a:ext cx="252000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300"/>
              </a:spcBef>
              <a:spcAft>
                <a:spcPts val="0"/>
              </a:spcAft>
              <a:buClr>
                <a:srgbClr val="3264FF"/>
              </a:buClr>
              <a:defRPr/>
            </a:pPr>
            <a:r>
              <a:rPr lang="pl-PL" sz="900" kern="0" dirty="0">
                <a:solidFill>
                  <a:srgbClr val="0A1D64"/>
                </a:solidFill>
                <a:latin typeface="Arial"/>
                <a:cs typeface="Arial"/>
              </a:rPr>
              <a:t>Maksymalizacja wartości w obszarze infrastruktury sieciowej – dystrybucja ciepła</a:t>
            </a:r>
          </a:p>
        </p:txBody>
      </p:sp>
      <p:sp>
        <p:nvSpPr>
          <p:cNvPr id="100" name="Rectangle 7"/>
          <p:cNvSpPr>
            <a:spLocks noChangeArrowheads="1"/>
          </p:cNvSpPr>
          <p:nvPr/>
        </p:nvSpPr>
        <p:spPr bwMode="gray">
          <a:xfrm>
            <a:off x="395816" y="3639696"/>
            <a:ext cx="252000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300"/>
              </a:spcBef>
              <a:spcAft>
                <a:spcPts val="0"/>
              </a:spcAft>
              <a:buClr>
                <a:srgbClr val="3264FF"/>
              </a:buClr>
              <a:defRPr/>
            </a:pPr>
            <a:r>
              <a:rPr lang="pl-PL" sz="900" kern="0" dirty="0">
                <a:solidFill>
                  <a:srgbClr val="0768A9"/>
                </a:solidFill>
                <a:latin typeface="Arial"/>
                <a:cs typeface="Arial"/>
              </a:rPr>
              <a:t>Rozwój działalności </a:t>
            </a:r>
            <a:r>
              <a:rPr lang="pl-PL" sz="900" i="1" kern="0" dirty="0" err="1" smtClean="0">
                <a:solidFill>
                  <a:srgbClr val="0768A9"/>
                </a:solidFill>
                <a:latin typeface="Arial"/>
                <a:cs typeface="Arial"/>
              </a:rPr>
              <a:t>tradingu</a:t>
            </a:r>
            <a:r>
              <a:rPr lang="pl-PL" sz="900" kern="0" dirty="0" smtClean="0">
                <a:solidFill>
                  <a:srgbClr val="0768A9"/>
                </a:solidFill>
                <a:latin typeface="Arial"/>
                <a:cs typeface="Arial"/>
              </a:rPr>
              <a:t> </a:t>
            </a:r>
            <a:r>
              <a:rPr lang="pl-PL" sz="900" kern="0" dirty="0">
                <a:solidFill>
                  <a:srgbClr val="0768A9"/>
                </a:solidFill>
                <a:latin typeface="Arial"/>
                <a:cs typeface="Arial"/>
              </a:rPr>
              <a:t>LNG na rynku międzynarodowym</a:t>
            </a:r>
          </a:p>
        </p:txBody>
      </p:sp>
      <p:sp>
        <p:nvSpPr>
          <p:cNvPr id="101" name="Rectangle 7"/>
          <p:cNvSpPr>
            <a:spLocks noChangeArrowheads="1"/>
          </p:cNvSpPr>
          <p:nvPr/>
        </p:nvSpPr>
        <p:spPr bwMode="gray">
          <a:xfrm>
            <a:off x="395816" y="3382246"/>
            <a:ext cx="252000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300"/>
              </a:spcBef>
              <a:spcAft>
                <a:spcPts val="0"/>
              </a:spcAft>
              <a:buClr>
                <a:srgbClr val="3264FF"/>
              </a:buClr>
              <a:defRPr/>
            </a:pPr>
            <a:r>
              <a:rPr lang="pl-PL" sz="900" kern="0" dirty="0">
                <a:solidFill>
                  <a:srgbClr val="0768A9"/>
                </a:solidFill>
                <a:latin typeface="Arial"/>
                <a:cs typeface="Arial"/>
              </a:rPr>
              <a:t>Realizacja nowych inwestycji dywersyfikacyjnych</a:t>
            </a:r>
          </a:p>
        </p:txBody>
      </p:sp>
      <p:sp>
        <p:nvSpPr>
          <p:cNvPr id="102" name="Rectangle 7"/>
          <p:cNvSpPr>
            <a:spLocks noChangeArrowheads="1"/>
          </p:cNvSpPr>
          <p:nvPr/>
        </p:nvSpPr>
        <p:spPr bwMode="gray">
          <a:xfrm>
            <a:off x="395816" y="4293096"/>
            <a:ext cx="252000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300"/>
              </a:spcBef>
              <a:spcAft>
                <a:spcPts val="0"/>
              </a:spcAft>
              <a:buClr>
                <a:srgbClr val="3264FF"/>
              </a:buClr>
              <a:defRPr/>
            </a:pPr>
            <a:r>
              <a:rPr lang="pl-PL" sz="900" kern="0" dirty="0">
                <a:solidFill>
                  <a:srgbClr val="0768A9"/>
                </a:solidFill>
                <a:latin typeface="Arial"/>
                <a:cs typeface="Arial"/>
              </a:rPr>
              <a:t>Rozwój działalności sprzedażowej </a:t>
            </a:r>
            <a:r>
              <a:rPr lang="pl-PL" sz="900" kern="0" dirty="0" smtClean="0">
                <a:solidFill>
                  <a:srgbClr val="0768A9"/>
                </a:solidFill>
                <a:latin typeface="Arial"/>
                <a:cs typeface="Arial"/>
              </a:rPr>
              <a:t>PST na rynkach międzynarodowych</a:t>
            </a:r>
            <a:endParaRPr lang="pl-PL" sz="900" kern="0" dirty="0">
              <a:solidFill>
                <a:srgbClr val="0768A9"/>
              </a:solidFill>
              <a:latin typeface="Arial"/>
              <a:cs typeface="Arial"/>
            </a:endParaRPr>
          </a:p>
        </p:txBody>
      </p:sp>
      <p:sp>
        <p:nvSpPr>
          <p:cNvPr id="103" name="Rectangle 7"/>
          <p:cNvSpPr>
            <a:spLocks noChangeArrowheads="1"/>
          </p:cNvSpPr>
          <p:nvPr/>
        </p:nvSpPr>
        <p:spPr bwMode="gray">
          <a:xfrm>
            <a:off x="412881" y="5801705"/>
            <a:ext cx="75392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300"/>
              </a:spcBef>
              <a:spcAft>
                <a:spcPts val="0"/>
              </a:spcAft>
              <a:buClr>
                <a:srgbClr val="3264FF"/>
              </a:buClr>
              <a:defRPr/>
            </a:pPr>
            <a:r>
              <a:rPr lang="pl-PL" sz="900" kern="0" dirty="0">
                <a:solidFill>
                  <a:srgbClr val="0A1D64"/>
                </a:solidFill>
                <a:latin typeface="Arial"/>
                <a:cs typeface="Arial"/>
              </a:rPr>
              <a:t>Zbudowanie organizacji opartej na efektywnym zarządzaniu zasobami ludzkimi, zorientowanej na cele i poszukiwanie zasobów</a:t>
            </a:r>
          </a:p>
        </p:txBody>
      </p:sp>
      <p:sp>
        <p:nvSpPr>
          <p:cNvPr id="104" name="Rectangle 7"/>
          <p:cNvSpPr>
            <a:spLocks noChangeArrowheads="1"/>
          </p:cNvSpPr>
          <p:nvPr/>
        </p:nvSpPr>
        <p:spPr bwMode="gray">
          <a:xfrm>
            <a:off x="421719" y="5030463"/>
            <a:ext cx="57866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300"/>
              </a:spcBef>
              <a:spcAft>
                <a:spcPts val="0"/>
              </a:spcAft>
              <a:buClr>
                <a:srgbClr val="3264FF"/>
              </a:buClr>
              <a:defRPr/>
            </a:pPr>
            <a:r>
              <a:rPr lang="pl-PL" sz="900" kern="0" dirty="0">
                <a:solidFill>
                  <a:srgbClr val="0A1D64"/>
                </a:solidFill>
                <a:latin typeface="Arial"/>
                <a:cs typeface="Arial"/>
              </a:rPr>
              <a:t>Program Poprawy Efektywności w działalności podstawowej</a:t>
            </a:r>
          </a:p>
        </p:txBody>
      </p:sp>
      <p:sp>
        <p:nvSpPr>
          <p:cNvPr id="105" name="Rectangle 7"/>
          <p:cNvSpPr>
            <a:spLocks noChangeArrowheads="1"/>
          </p:cNvSpPr>
          <p:nvPr/>
        </p:nvSpPr>
        <p:spPr bwMode="gray">
          <a:xfrm>
            <a:off x="417249" y="6045269"/>
            <a:ext cx="5379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300"/>
              </a:spcBef>
              <a:spcAft>
                <a:spcPts val="0"/>
              </a:spcAft>
              <a:buClr>
                <a:srgbClr val="3264FF"/>
              </a:buClr>
              <a:defRPr/>
            </a:pPr>
            <a:r>
              <a:rPr lang="pl-PL" sz="900" kern="0" dirty="0">
                <a:solidFill>
                  <a:srgbClr val="0768A9"/>
                </a:solidFill>
                <a:latin typeface="Arial"/>
                <a:cs typeface="Arial"/>
              </a:rPr>
              <a:t>Intensyfikacja działalności </a:t>
            </a:r>
            <a:r>
              <a:rPr lang="pl-PL" sz="900" kern="0" dirty="0" smtClean="0">
                <a:solidFill>
                  <a:srgbClr val="0768A9"/>
                </a:solidFill>
                <a:latin typeface="Arial"/>
                <a:cs typeface="Arial"/>
              </a:rPr>
              <a:t>badawczo-rozwojowej i poszukiwanie innowacyjnych obszarów wzrostu</a:t>
            </a:r>
            <a:endParaRPr lang="pl-PL" sz="900" kern="0" dirty="0">
              <a:solidFill>
                <a:srgbClr val="0768A9"/>
              </a:solidFill>
              <a:latin typeface="Arial"/>
              <a:cs typeface="Arial"/>
            </a:endParaRPr>
          </a:p>
        </p:txBody>
      </p:sp>
      <p:sp>
        <p:nvSpPr>
          <p:cNvPr id="106" name="Rectangle 7"/>
          <p:cNvSpPr>
            <a:spLocks noChangeArrowheads="1"/>
          </p:cNvSpPr>
          <p:nvPr/>
        </p:nvSpPr>
        <p:spPr bwMode="gray">
          <a:xfrm>
            <a:off x="421719" y="5270114"/>
            <a:ext cx="57866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300"/>
              </a:spcBef>
              <a:spcAft>
                <a:spcPts val="0"/>
              </a:spcAft>
              <a:buClr>
                <a:srgbClr val="3264FF"/>
              </a:buClr>
              <a:defRPr/>
            </a:pPr>
            <a:r>
              <a:rPr lang="pl-PL" sz="900" kern="0" dirty="0">
                <a:solidFill>
                  <a:srgbClr val="0A1D64"/>
                </a:solidFill>
                <a:latin typeface="Arial"/>
                <a:cs typeface="Arial"/>
              </a:rPr>
              <a:t>Zbycie nieruchomości non-</a:t>
            </a:r>
            <a:r>
              <a:rPr lang="pl-PL" sz="900" kern="0" dirty="0" err="1">
                <a:solidFill>
                  <a:srgbClr val="0A1D64"/>
                </a:solidFill>
                <a:latin typeface="Arial"/>
                <a:cs typeface="Arial"/>
              </a:rPr>
              <a:t>core</a:t>
            </a:r>
            <a:r>
              <a:rPr lang="pl-PL" sz="900" kern="0" dirty="0">
                <a:solidFill>
                  <a:srgbClr val="0A1D64"/>
                </a:solidFill>
                <a:latin typeface="Arial"/>
                <a:cs typeface="Arial"/>
              </a:rPr>
              <a:t> </a:t>
            </a:r>
          </a:p>
        </p:txBody>
      </p:sp>
      <p:sp>
        <p:nvSpPr>
          <p:cNvPr id="107" name="Rectangle 7"/>
          <p:cNvSpPr>
            <a:spLocks noChangeArrowheads="1"/>
          </p:cNvSpPr>
          <p:nvPr/>
        </p:nvSpPr>
        <p:spPr bwMode="gray">
          <a:xfrm>
            <a:off x="421719" y="5541404"/>
            <a:ext cx="57868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300"/>
              </a:spcBef>
              <a:spcAft>
                <a:spcPts val="0"/>
              </a:spcAft>
              <a:buClr>
                <a:srgbClr val="3264FF"/>
              </a:buClr>
              <a:defRPr/>
            </a:pPr>
            <a:r>
              <a:rPr lang="pl-PL" sz="900" kern="0" dirty="0">
                <a:solidFill>
                  <a:srgbClr val="0A1D64"/>
                </a:solidFill>
                <a:latin typeface="Arial"/>
                <a:cs typeface="Arial"/>
              </a:rPr>
              <a:t>Zbycie spółek non-</a:t>
            </a:r>
            <a:r>
              <a:rPr lang="pl-PL" sz="900" kern="0" dirty="0" err="1">
                <a:solidFill>
                  <a:srgbClr val="0A1D64"/>
                </a:solidFill>
                <a:latin typeface="Arial"/>
                <a:cs typeface="Arial"/>
              </a:rPr>
              <a:t>core</a:t>
            </a:r>
            <a:r>
              <a:rPr lang="pl-PL" sz="900" kern="0" dirty="0">
                <a:solidFill>
                  <a:srgbClr val="0A1D64"/>
                </a:solidFill>
                <a:latin typeface="Arial"/>
                <a:cs typeface="Arial"/>
              </a:rPr>
              <a:t> </a:t>
            </a:r>
          </a:p>
        </p:txBody>
      </p:sp>
      <p:sp>
        <p:nvSpPr>
          <p:cNvPr id="59" name="Tytuł 1"/>
          <p:cNvSpPr txBox="1">
            <a:spLocks/>
          </p:cNvSpPr>
          <p:nvPr/>
        </p:nvSpPr>
        <p:spPr bwMode="auto">
          <a:xfrm>
            <a:off x="304800" y="116632"/>
            <a:ext cx="8083623" cy="100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pl-PL" sz="2400" dirty="0"/>
              <a:t>Zaktualizowana Strategia GK PGNiG na lata </a:t>
            </a:r>
            <a:r>
              <a:rPr lang="en-US" sz="2400" dirty="0" smtClean="0"/>
              <a:t>2014-2022</a:t>
            </a:r>
            <a:r>
              <a:rPr lang="pl-PL" sz="2400" dirty="0" smtClean="0"/>
              <a:t> </a:t>
            </a:r>
            <a:r>
              <a:rPr lang="pl-PL" sz="1400" b="0" dirty="0" smtClean="0"/>
              <a:t>Filary </a:t>
            </a:r>
            <a:r>
              <a:rPr lang="pl-PL" sz="1400" b="0" dirty="0"/>
              <a:t>Strategii GK PGNiG na lata 2014-2022</a:t>
            </a:r>
            <a:endParaRPr lang="pl-PL" sz="1400" b="0" dirty="0" smtClean="0"/>
          </a:p>
        </p:txBody>
      </p:sp>
    </p:spTree>
    <p:extLst>
      <p:ext uri="{BB962C8B-B14F-4D97-AF65-F5344CB8AC3E}">
        <p14:creationId xmlns:p14="http://schemas.microsoft.com/office/powerpoint/2010/main" val="3187507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6BAD645-4E0B-44EC-8C5B-BC5A360C58F7}" type="slidenum">
              <a:rPr lang="en-GB" smtClean="0">
                <a:solidFill>
                  <a:srgbClr val="0A1D64"/>
                </a:solidFill>
              </a:rPr>
              <a:pPr/>
              <a:t>6</a:t>
            </a:fld>
            <a:endParaRPr lang="en-GB" dirty="0">
              <a:solidFill>
                <a:srgbClr val="0A1D64"/>
              </a:solidFill>
            </a:endParaRPr>
          </a:p>
        </p:txBody>
      </p:sp>
      <p:pic>
        <p:nvPicPr>
          <p:cNvPr id="32" name="Picture 2" descr="H:\STR\Dzial_SF\3_Projekty\3_Projekty_GK_Karina\12. VBM\3. Working\6. VBM 3.0\prezentacja_giełda\Prace DP\Zdjecia\thumbnail_cent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240" y="1376772"/>
            <a:ext cx="1133999" cy="756000"/>
          </a:xfrm>
          <a:prstGeom prst="rect">
            <a:avLst/>
          </a:prstGeom>
          <a:noFill/>
          <a:ln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" descr="H:\STR\Dzial_SF\3_Projekty\3_Projekty_GK_Karina\12. VBM\3. Working\6. VBM 3.0\prezentacja_giełda\Prace DP\Zdjecia\thumbnail_5 (5)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240" y="4860316"/>
            <a:ext cx="1136962" cy="756000"/>
          </a:xfrm>
          <a:prstGeom prst="rect">
            <a:avLst/>
          </a:prstGeom>
          <a:noFill/>
          <a:ln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5" descr="H:\STR\Dzial_SF\3_Projekty\3_Projekty_GK_Karina\12. VBM\3. Working\6. VBM 3.0\prezentacja_giełda\Prace DP\Zdjecia\thumbnail_5 (3)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239" y="3118544"/>
            <a:ext cx="1135479" cy="756000"/>
          </a:xfrm>
          <a:prstGeom prst="rect">
            <a:avLst/>
          </a:prstGeom>
          <a:noFill/>
          <a:ln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6" descr="H:\STR\Dzial_SF\3_Projekty\3_Projekty_GK_Karina\12. VBM\3. Working\6. VBM 3.0\prezentacja_giełda\Prace DP\Zdjecia\thumbnail_5 (4)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239" y="3989430"/>
            <a:ext cx="1135479" cy="756000"/>
          </a:xfrm>
          <a:prstGeom prst="rect">
            <a:avLst/>
          </a:prstGeom>
          <a:noFill/>
          <a:ln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7" descr="H:\STR\Dzial_SF\3_Projekty\3_Projekty_GK_Karina\12. VBM\3. Working\6. VBM 3.0\prezentacja_giełda\Prace DP\Zdjecia\thumbnail_zegar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239" y="5731204"/>
            <a:ext cx="1134000" cy="756000"/>
          </a:xfrm>
          <a:prstGeom prst="rect">
            <a:avLst/>
          </a:prstGeom>
          <a:noFill/>
          <a:ln>
            <a:solidFill>
              <a:srgbClr val="80808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8"/>
          <p:cNvSpPr txBox="1"/>
          <p:nvPr/>
        </p:nvSpPr>
        <p:spPr>
          <a:xfrm>
            <a:off x="1936581" y="1376772"/>
            <a:ext cx="7056000" cy="756000"/>
          </a:xfrm>
          <a:prstGeom prst="rect">
            <a:avLst/>
          </a:prstGeom>
          <a:noFill/>
        </p:spPr>
        <p:txBody>
          <a:bodyPr wrap="square" lIns="72000" rIns="36000" rtlCol="0" anchor="ctr">
            <a:noAutofit/>
          </a:bodyPr>
          <a:lstStyle/>
          <a:p>
            <a:pPr marL="177800" indent="-177800">
              <a:spcBef>
                <a:spcPts val="300"/>
              </a:spcBef>
              <a:buClr>
                <a:srgbClr val="FF6309"/>
              </a:buClr>
              <a:buFont typeface="Arial" panose="020B0604020202020204" pitchFamily="34" charset="0"/>
              <a:buChar char="•"/>
            </a:pPr>
            <a:r>
              <a:rPr lang="pl-PL" sz="1200" b="1" dirty="0">
                <a:solidFill>
                  <a:srgbClr val="0A1D64"/>
                </a:solidFill>
              </a:rPr>
              <a:t>Stabilizacja wyniku EBITDA na poziomie ~7,4 mld PLN w 2022 r.</a:t>
            </a:r>
          </a:p>
          <a:p>
            <a:pPr marL="177800" indent="-177800">
              <a:spcBef>
                <a:spcPts val="300"/>
              </a:spcBef>
              <a:buClr>
                <a:srgbClr val="FF6309"/>
              </a:buClr>
              <a:buFont typeface="Arial" panose="020B0604020202020204" pitchFamily="34" charset="0"/>
              <a:buChar char="•"/>
            </a:pPr>
            <a:r>
              <a:rPr lang="pl-PL" sz="1200" b="1" dirty="0">
                <a:solidFill>
                  <a:srgbClr val="0A1D64"/>
                </a:solidFill>
              </a:rPr>
              <a:t>Średnioroczne nakłady inwestycyjne na rozwój organiczny i przejęcia wyższe o ok. 30%  wobec średniorocznych nakładów z lat 2008-2013</a:t>
            </a:r>
          </a:p>
        </p:txBody>
      </p:sp>
      <p:sp>
        <p:nvSpPr>
          <p:cNvPr id="38" name="TextBox 8"/>
          <p:cNvSpPr txBox="1"/>
          <p:nvPr/>
        </p:nvSpPr>
        <p:spPr>
          <a:xfrm>
            <a:off x="1935242" y="3118544"/>
            <a:ext cx="7056000" cy="756000"/>
          </a:xfrm>
          <a:prstGeom prst="rect">
            <a:avLst/>
          </a:prstGeom>
          <a:noFill/>
        </p:spPr>
        <p:txBody>
          <a:bodyPr wrap="square" lIns="72000" rIns="36000" rtlCol="0" anchor="ctr">
            <a:noAutofit/>
          </a:bodyPr>
          <a:lstStyle/>
          <a:p>
            <a:pPr marL="177800" indent="-177800">
              <a:spcBef>
                <a:spcPts val="300"/>
              </a:spcBef>
              <a:buClr>
                <a:srgbClr val="FF6309"/>
              </a:buClr>
              <a:buFont typeface="Arial" panose="020B0604020202020204" pitchFamily="34" charset="0"/>
              <a:buChar char="•"/>
              <a:tabLst>
                <a:tab pos="358775" algn="l"/>
              </a:tabLst>
            </a:pPr>
            <a:r>
              <a:rPr lang="pl-PL" sz="1200" b="1" dirty="0">
                <a:solidFill>
                  <a:srgbClr val="0A1D64"/>
                </a:solidFill>
              </a:rPr>
              <a:t>Utrzymanie wydobycia węglowodorów w kraju na poziomie ok. 33 mln </a:t>
            </a:r>
            <a:r>
              <a:rPr lang="pl-PL" sz="1200" b="1" dirty="0" err="1">
                <a:solidFill>
                  <a:srgbClr val="0A1D64"/>
                </a:solidFill>
              </a:rPr>
              <a:t>boe</a:t>
            </a:r>
            <a:r>
              <a:rPr lang="pl-PL" sz="1200" b="1" dirty="0">
                <a:solidFill>
                  <a:srgbClr val="0A1D64"/>
                </a:solidFill>
              </a:rPr>
              <a:t> rocznie</a:t>
            </a:r>
          </a:p>
        </p:txBody>
      </p:sp>
      <p:sp>
        <p:nvSpPr>
          <p:cNvPr id="39" name="TextBox 8"/>
          <p:cNvSpPr txBox="1"/>
          <p:nvPr/>
        </p:nvSpPr>
        <p:spPr>
          <a:xfrm>
            <a:off x="1936581" y="3989430"/>
            <a:ext cx="7056000" cy="756000"/>
          </a:xfrm>
          <a:prstGeom prst="rect">
            <a:avLst/>
          </a:prstGeom>
          <a:noFill/>
        </p:spPr>
        <p:txBody>
          <a:bodyPr wrap="square" lIns="72000" rIns="36000" rtlCol="0" anchor="ctr">
            <a:noAutofit/>
          </a:bodyPr>
          <a:lstStyle/>
          <a:p>
            <a:pPr marL="177800" indent="-177800">
              <a:spcBef>
                <a:spcPts val="300"/>
              </a:spcBef>
              <a:buClr>
                <a:srgbClr val="FF6309"/>
              </a:buClr>
              <a:buFont typeface="Arial" panose="020B0604020202020204" pitchFamily="34" charset="0"/>
              <a:buChar char="•"/>
              <a:tabLst>
                <a:tab pos="358775" algn="l"/>
              </a:tabLst>
            </a:pPr>
            <a:r>
              <a:rPr lang="pl-PL" sz="1200" b="1" dirty="0">
                <a:solidFill>
                  <a:srgbClr val="0A1D64"/>
                </a:solidFill>
              </a:rPr>
              <a:t>Zwiększenie wolumenu produkcji ropy i gazu w sumie (Polska i zagranica) do </a:t>
            </a:r>
            <a:br>
              <a:rPr lang="pl-PL" sz="1200" b="1" dirty="0">
                <a:solidFill>
                  <a:srgbClr val="0A1D64"/>
                </a:solidFill>
              </a:rPr>
            </a:br>
            <a:r>
              <a:rPr lang="pl-PL" sz="1200" b="1" dirty="0">
                <a:solidFill>
                  <a:srgbClr val="0A1D64"/>
                </a:solidFill>
              </a:rPr>
              <a:t>ok. 55-60 mln </a:t>
            </a:r>
            <a:r>
              <a:rPr lang="pl-PL" sz="1200" b="1" dirty="0" err="1">
                <a:solidFill>
                  <a:srgbClr val="0A1D64"/>
                </a:solidFill>
              </a:rPr>
              <a:t>boe</a:t>
            </a:r>
            <a:r>
              <a:rPr lang="pl-PL" sz="1200" b="1" dirty="0">
                <a:solidFill>
                  <a:srgbClr val="0A1D64"/>
                </a:solidFill>
              </a:rPr>
              <a:t> w 2022 r. poprzez zakup aktywów poszukiwawczo-wydobywczych</a:t>
            </a:r>
          </a:p>
        </p:txBody>
      </p:sp>
      <p:sp>
        <p:nvSpPr>
          <p:cNvPr id="40" name="TextBox 8"/>
          <p:cNvSpPr txBox="1"/>
          <p:nvPr/>
        </p:nvSpPr>
        <p:spPr>
          <a:xfrm>
            <a:off x="1935241" y="4860316"/>
            <a:ext cx="7056000" cy="756000"/>
          </a:xfrm>
          <a:prstGeom prst="rect">
            <a:avLst/>
          </a:prstGeom>
          <a:noFill/>
        </p:spPr>
        <p:txBody>
          <a:bodyPr wrap="square" lIns="72000" rIns="36000" rtlCol="0" anchor="ctr">
            <a:noAutofit/>
          </a:bodyPr>
          <a:lstStyle/>
          <a:p>
            <a:pPr marL="177800" indent="-177800">
              <a:spcBef>
                <a:spcPts val="300"/>
              </a:spcBef>
              <a:buClr>
                <a:srgbClr val="FF6309"/>
              </a:buClr>
              <a:buFont typeface="Arial" panose="020B0604020202020204" pitchFamily="34" charset="0"/>
              <a:buChar char="•"/>
              <a:tabLst>
                <a:tab pos="358775" algn="l"/>
              </a:tabLst>
            </a:pPr>
            <a:r>
              <a:rPr lang="pl-PL" sz="1200" b="1" dirty="0">
                <a:solidFill>
                  <a:srgbClr val="0A1D64"/>
                </a:solidFill>
              </a:rPr>
              <a:t>Rozwój nowych obszarów działalności poprzez rozszerzenie łańcucha wartości w dystrybucji o aktywa ciepłownicze</a:t>
            </a:r>
          </a:p>
        </p:txBody>
      </p:sp>
      <p:sp>
        <p:nvSpPr>
          <p:cNvPr id="41" name="TextBox 8"/>
          <p:cNvSpPr txBox="1"/>
          <p:nvPr/>
        </p:nvSpPr>
        <p:spPr>
          <a:xfrm>
            <a:off x="1935241" y="5731204"/>
            <a:ext cx="7056000" cy="756000"/>
          </a:xfrm>
          <a:prstGeom prst="rect">
            <a:avLst/>
          </a:prstGeom>
          <a:noFill/>
        </p:spPr>
        <p:txBody>
          <a:bodyPr wrap="square" lIns="72000" rIns="36000" rtlCol="0" anchor="ctr">
            <a:noAutofit/>
          </a:bodyPr>
          <a:lstStyle/>
          <a:p>
            <a:pPr marL="177800" indent="-177800">
              <a:spcBef>
                <a:spcPts val="300"/>
              </a:spcBef>
              <a:buClr>
                <a:srgbClr val="FF6309"/>
              </a:buClr>
              <a:buFont typeface="Arial" panose="020B0604020202020204" pitchFamily="34" charset="0"/>
              <a:buChar char="•"/>
              <a:tabLst>
                <a:tab pos="358775" algn="l"/>
              </a:tabLst>
            </a:pPr>
            <a:r>
              <a:rPr lang="pl-PL" sz="1200" b="1" dirty="0">
                <a:solidFill>
                  <a:srgbClr val="0A1D64"/>
                </a:solidFill>
              </a:rPr>
              <a:t>Istotny wzrost wewnętrznej efektywności funkcjonowania GK PGNiG </a:t>
            </a:r>
            <a:br>
              <a:rPr lang="pl-PL" sz="1200" b="1" dirty="0">
                <a:solidFill>
                  <a:srgbClr val="0A1D64"/>
                </a:solidFill>
              </a:rPr>
            </a:br>
            <a:r>
              <a:rPr lang="pl-PL" sz="1200" b="1" dirty="0">
                <a:solidFill>
                  <a:srgbClr val="0A1D64"/>
                </a:solidFill>
              </a:rPr>
              <a:t>(oszczędności ~800-900 mln PLN)</a:t>
            </a:r>
          </a:p>
        </p:txBody>
      </p:sp>
      <p:sp>
        <p:nvSpPr>
          <p:cNvPr id="42" name="TextBox 8"/>
          <p:cNvSpPr txBox="1"/>
          <p:nvPr/>
        </p:nvSpPr>
        <p:spPr>
          <a:xfrm>
            <a:off x="143508" y="1600884"/>
            <a:ext cx="396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buClr>
                <a:srgbClr val="FF6309"/>
              </a:buClr>
              <a:tabLst>
                <a:tab pos="358775" algn="l"/>
              </a:tabLst>
            </a:pPr>
            <a:r>
              <a:rPr lang="en-GB" sz="1400" b="1" dirty="0" smtClean="0">
                <a:solidFill>
                  <a:srgbClr val="FF6309"/>
                </a:solidFill>
              </a:rPr>
              <a:t>#1</a:t>
            </a:r>
            <a:endParaRPr lang="en-GB" sz="1400" b="1" dirty="0">
              <a:solidFill>
                <a:srgbClr val="FF6309"/>
              </a:solidFill>
            </a:endParaRPr>
          </a:p>
        </p:txBody>
      </p:sp>
      <p:sp>
        <p:nvSpPr>
          <p:cNvPr id="43" name="TextBox 8"/>
          <p:cNvSpPr txBox="1"/>
          <p:nvPr/>
        </p:nvSpPr>
        <p:spPr>
          <a:xfrm>
            <a:off x="143508" y="2471770"/>
            <a:ext cx="396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buClr>
                <a:srgbClr val="FF6309"/>
              </a:buClr>
              <a:tabLst>
                <a:tab pos="358775" algn="l"/>
              </a:tabLst>
            </a:pPr>
            <a:r>
              <a:rPr lang="en-GB" sz="1400" b="1" dirty="0" smtClean="0">
                <a:solidFill>
                  <a:srgbClr val="FF6309"/>
                </a:solidFill>
              </a:rPr>
              <a:t>#2</a:t>
            </a:r>
            <a:endParaRPr lang="en-GB" sz="1400" b="1" dirty="0">
              <a:solidFill>
                <a:srgbClr val="FF6309"/>
              </a:solidFill>
            </a:endParaRPr>
          </a:p>
        </p:txBody>
      </p:sp>
      <p:sp>
        <p:nvSpPr>
          <p:cNvPr id="44" name="TextBox 8"/>
          <p:cNvSpPr txBox="1"/>
          <p:nvPr/>
        </p:nvSpPr>
        <p:spPr>
          <a:xfrm>
            <a:off x="143508" y="3342656"/>
            <a:ext cx="396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buClr>
                <a:srgbClr val="FF6309"/>
              </a:buClr>
              <a:tabLst>
                <a:tab pos="358775" algn="l"/>
              </a:tabLst>
            </a:pPr>
            <a:r>
              <a:rPr lang="en-GB" sz="1400" b="1" dirty="0" smtClean="0">
                <a:solidFill>
                  <a:srgbClr val="FF6309"/>
                </a:solidFill>
              </a:rPr>
              <a:t>#3</a:t>
            </a:r>
            <a:endParaRPr lang="en-GB" sz="1400" b="1" dirty="0">
              <a:solidFill>
                <a:srgbClr val="FF6309"/>
              </a:solidFill>
            </a:endParaRPr>
          </a:p>
        </p:txBody>
      </p:sp>
      <p:sp>
        <p:nvSpPr>
          <p:cNvPr id="45" name="TextBox 8"/>
          <p:cNvSpPr txBox="1"/>
          <p:nvPr/>
        </p:nvSpPr>
        <p:spPr>
          <a:xfrm>
            <a:off x="143508" y="4213542"/>
            <a:ext cx="396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buClr>
                <a:srgbClr val="FF6309"/>
              </a:buClr>
              <a:tabLst>
                <a:tab pos="358775" algn="l"/>
              </a:tabLst>
            </a:pPr>
            <a:r>
              <a:rPr lang="en-GB" sz="1400" b="1" dirty="0" smtClean="0">
                <a:solidFill>
                  <a:srgbClr val="FF6309"/>
                </a:solidFill>
              </a:rPr>
              <a:t>#4</a:t>
            </a:r>
            <a:endParaRPr lang="en-GB" sz="1400" b="1" dirty="0">
              <a:solidFill>
                <a:srgbClr val="FF6309"/>
              </a:solidFill>
            </a:endParaRPr>
          </a:p>
        </p:txBody>
      </p:sp>
      <p:sp>
        <p:nvSpPr>
          <p:cNvPr id="46" name="TextBox 8"/>
          <p:cNvSpPr txBox="1"/>
          <p:nvPr/>
        </p:nvSpPr>
        <p:spPr>
          <a:xfrm>
            <a:off x="143508" y="5084428"/>
            <a:ext cx="396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buClr>
                <a:srgbClr val="FF6309"/>
              </a:buClr>
              <a:tabLst>
                <a:tab pos="358775" algn="l"/>
              </a:tabLst>
            </a:pPr>
            <a:r>
              <a:rPr lang="en-GB" sz="1400" b="1" dirty="0" smtClean="0">
                <a:solidFill>
                  <a:srgbClr val="FF6309"/>
                </a:solidFill>
              </a:rPr>
              <a:t>#5</a:t>
            </a:r>
            <a:endParaRPr lang="en-GB" sz="1400" b="1" dirty="0">
              <a:solidFill>
                <a:srgbClr val="FF6309"/>
              </a:solidFill>
            </a:endParaRPr>
          </a:p>
        </p:txBody>
      </p:sp>
      <p:pic>
        <p:nvPicPr>
          <p:cNvPr id="47" name="Picture 2" descr="C:\Users\waw10025522\Downloads\thumbnail_5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240" y="2247658"/>
            <a:ext cx="1136843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TextBox 8"/>
          <p:cNvSpPr txBox="1"/>
          <p:nvPr/>
        </p:nvSpPr>
        <p:spPr>
          <a:xfrm>
            <a:off x="1935242" y="2247658"/>
            <a:ext cx="7056000" cy="756000"/>
          </a:xfrm>
          <a:prstGeom prst="rect">
            <a:avLst/>
          </a:prstGeom>
          <a:noFill/>
        </p:spPr>
        <p:txBody>
          <a:bodyPr wrap="square" lIns="72000" rIns="36000" rtlCol="0" anchor="ctr">
            <a:noAutofit/>
          </a:bodyPr>
          <a:lstStyle/>
          <a:p>
            <a:pPr marL="177800" indent="-177800">
              <a:spcBef>
                <a:spcPts val="300"/>
              </a:spcBef>
              <a:buClr>
                <a:srgbClr val="FF6309"/>
              </a:buClr>
              <a:buFont typeface="Arial" panose="020B0604020202020204" pitchFamily="34" charset="0"/>
              <a:buChar char="•"/>
              <a:tabLst>
                <a:tab pos="358775" algn="l"/>
              </a:tabLst>
            </a:pPr>
            <a:r>
              <a:rPr lang="pl-PL" sz="1200" b="1" dirty="0">
                <a:solidFill>
                  <a:srgbClr val="0A1D64"/>
                </a:solidFill>
              </a:rPr>
              <a:t>Dywersyfikacja portfela dostaw gazu PGNiG po 2022 r.</a:t>
            </a:r>
          </a:p>
        </p:txBody>
      </p:sp>
      <p:sp>
        <p:nvSpPr>
          <p:cNvPr id="49" name="TextBox 8"/>
          <p:cNvSpPr txBox="1"/>
          <p:nvPr/>
        </p:nvSpPr>
        <p:spPr>
          <a:xfrm>
            <a:off x="143508" y="5955316"/>
            <a:ext cx="396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buClr>
                <a:srgbClr val="FF6309"/>
              </a:buClr>
              <a:tabLst>
                <a:tab pos="358775" algn="l"/>
              </a:tabLst>
            </a:pPr>
            <a:r>
              <a:rPr lang="en-GB" sz="1400" b="1" dirty="0" smtClean="0">
                <a:solidFill>
                  <a:srgbClr val="FF6309"/>
                </a:solidFill>
              </a:rPr>
              <a:t>#6</a:t>
            </a:r>
            <a:endParaRPr lang="en-GB" sz="1400" b="1" dirty="0">
              <a:solidFill>
                <a:srgbClr val="FF6309"/>
              </a:solidFill>
            </a:endParaRPr>
          </a:p>
        </p:txBody>
      </p:sp>
      <p:sp>
        <p:nvSpPr>
          <p:cNvPr id="22" name="Tytuł 1"/>
          <p:cNvSpPr txBox="1">
            <a:spLocks/>
          </p:cNvSpPr>
          <p:nvPr/>
        </p:nvSpPr>
        <p:spPr bwMode="auto">
          <a:xfrm>
            <a:off x="304800" y="116632"/>
            <a:ext cx="8083623" cy="100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pl-PL" sz="2400" dirty="0"/>
              <a:t>Zaktualizowana Strategia GK PGNiG na lata </a:t>
            </a:r>
            <a:r>
              <a:rPr lang="en-US" sz="2400" dirty="0" smtClean="0"/>
              <a:t>2014-2022</a:t>
            </a:r>
            <a:r>
              <a:rPr lang="pl-PL" sz="2400" dirty="0" smtClean="0"/>
              <a:t> </a:t>
            </a:r>
            <a:r>
              <a:rPr lang="en-GB" sz="1400" b="0" dirty="0"/>
              <a:t>Kluczowe aspiracje strategiczne</a:t>
            </a:r>
            <a:endParaRPr lang="pl-PL" sz="1400" b="0" dirty="0" smtClean="0"/>
          </a:p>
        </p:txBody>
      </p:sp>
    </p:spTree>
    <p:extLst>
      <p:ext uri="{BB962C8B-B14F-4D97-AF65-F5344CB8AC3E}">
        <p14:creationId xmlns:p14="http://schemas.microsoft.com/office/powerpoint/2010/main" val="110789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ymbol zastępczy zawartości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512" y="2"/>
            <a:ext cx="9180512" cy="6857445"/>
          </a:xfrm>
        </p:spPr>
      </p:pic>
      <p:cxnSp>
        <p:nvCxnSpPr>
          <p:cNvPr id="6" name="Łącznik prostoliniowy 5"/>
          <p:cNvCxnSpPr/>
          <p:nvPr/>
        </p:nvCxnSpPr>
        <p:spPr>
          <a:xfrm flipV="1">
            <a:off x="8712529" y="1"/>
            <a:ext cx="0" cy="3800474"/>
          </a:xfrm>
          <a:prstGeom prst="line">
            <a:avLst/>
          </a:prstGeom>
          <a:ln w="15875" cap="flat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431474" y="950121"/>
            <a:ext cx="8173219" cy="1900237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r" fontAlgn="auto">
              <a:spcBef>
                <a:spcPct val="20000"/>
              </a:spcBef>
              <a:spcAft>
                <a:spcPts val="0"/>
              </a:spcAft>
            </a:pPr>
            <a:r>
              <a:rPr lang="pl-PL" sz="3200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/>
            </a:r>
            <a:br>
              <a:rPr lang="pl-PL" sz="3200" dirty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</a:br>
            <a:r>
              <a:rPr lang="pl-PL" sz="3200" dirty="0" smtClean="0">
                <a:solidFill>
                  <a:srgbClr val="FFFFFF"/>
                </a:solidFill>
                <a:latin typeface="Arial" panose="020B0604020202020204" pitchFamily="34" charset="0"/>
                <a:cs typeface="Arial" pitchFamily="34" charset="0"/>
              </a:rPr>
              <a:t>Budowa konkurencyjnego rynku gazu</a:t>
            </a:r>
            <a:endParaRPr lang="pl-PL" sz="3200" dirty="0"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9599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numeru slajdu 3"/>
          <p:cNvSpPr>
            <a:spLocks noGrp="1"/>
          </p:cNvSpPr>
          <p:nvPr>
            <p:ph type="sldNum" sz="quarter" idx="11"/>
          </p:nvPr>
        </p:nvSpPr>
        <p:spPr>
          <a:xfrm>
            <a:off x="304800" y="6597352"/>
            <a:ext cx="685800" cy="144462"/>
          </a:xfrm>
        </p:spPr>
        <p:txBody>
          <a:bodyPr/>
          <a:lstStyle/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8</a:t>
            </a:fld>
            <a:endParaRPr lang="en-US" dirty="0">
              <a:solidFill>
                <a:srgbClr val="0A1D64"/>
              </a:solidFill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88" y="1400761"/>
            <a:ext cx="4842107" cy="313521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2960" y="3631049"/>
            <a:ext cx="4157329" cy="282228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pole tekstowe 6"/>
          <p:cNvSpPr txBox="1"/>
          <p:nvPr/>
        </p:nvSpPr>
        <p:spPr>
          <a:xfrm>
            <a:off x="5220072" y="1447192"/>
            <a:ext cx="3668233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 eaLnBrk="0" fontAlgn="auto" hangingPunct="0">
              <a:spcBef>
                <a:spcPts val="0"/>
              </a:spcBef>
              <a:spcAft>
                <a:spcPts val="600"/>
              </a:spcAft>
              <a:buClr>
                <a:srgbClr val="FF6309"/>
              </a:buClr>
              <a:buFont typeface="Wingdings" panose="05000000000000000000" pitchFamily="2" charset="2"/>
              <a:buChar char="§"/>
            </a:pPr>
            <a:r>
              <a:rPr lang="pl-PL" sz="1400" kern="0" dirty="0" smtClean="0">
                <a:solidFill>
                  <a:srgbClr val="002060"/>
                </a:solidFill>
              </a:rPr>
              <a:t>W regionie Europy Środkowej fizycznie dostępny jest tylko </a:t>
            </a:r>
            <a:r>
              <a:rPr lang="pl-PL" sz="1400" b="1" u="sng" kern="0" dirty="0" smtClean="0">
                <a:solidFill>
                  <a:srgbClr val="002060"/>
                </a:solidFill>
              </a:rPr>
              <a:t>gaz rosyjski</a:t>
            </a:r>
            <a:r>
              <a:rPr lang="pl-PL" sz="1400" kern="0" dirty="0" smtClean="0">
                <a:solidFill>
                  <a:srgbClr val="002060"/>
                </a:solidFill>
              </a:rPr>
              <a:t>.</a:t>
            </a:r>
          </a:p>
          <a:p>
            <a:pPr marL="285750" indent="-285750" algn="just" eaLnBrk="0" fontAlgn="auto" hangingPunct="0">
              <a:spcBef>
                <a:spcPts val="0"/>
              </a:spcBef>
              <a:spcAft>
                <a:spcPts val="600"/>
              </a:spcAft>
              <a:buClr>
                <a:srgbClr val="FF6309"/>
              </a:buClr>
              <a:buFont typeface="Wingdings" panose="05000000000000000000" pitchFamily="2" charset="2"/>
              <a:buChar char="§"/>
            </a:pPr>
            <a:r>
              <a:rPr lang="pl-PL" sz="1400" kern="0" dirty="0" smtClean="0">
                <a:solidFill>
                  <a:srgbClr val="002060"/>
                </a:solidFill>
              </a:rPr>
              <a:t>Z </a:t>
            </a:r>
            <a:r>
              <a:rPr lang="pl-PL" sz="1400" b="1" kern="0" dirty="0" smtClean="0">
                <a:solidFill>
                  <a:srgbClr val="002060"/>
                </a:solidFill>
              </a:rPr>
              <a:t>Niemiec, Czech oraz Słowacji </a:t>
            </a:r>
            <a:r>
              <a:rPr lang="pl-PL" sz="1400" kern="0" dirty="0" smtClean="0">
                <a:solidFill>
                  <a:srgbClr val="002060"/>
                </a:solidFill>
              </a:rPr>
              <a:t>do Polski dostarczany może być wyłącznie </a:t>
            </a:r>
            <a:r>
              <a:rPr lang="pl-PL" sz="1400" b="1" kern="0" dirty="0" smtClean="0">
                <a:solidFill>
                  <a:srgbClr val="002060"/>
                </a:solidFill>
              </a:rPr>
              <a:t>gaz pochodzenia rosyjskiego</a:t>
            </a:r>
            <a:r>
              <a:rPr lang="pl-PL" sz="1400" kern="0" dirty="0" smtClean="0">
                <a:solidFill>
                  <a:srgbClr val="002060"/>
                </a:solidFill>
              </a:rPr>
              <a:t>.</a:t>
            </a:r>
          </a:p>
          <a:p>
            <a:pPr marL="285750" indent="-285750" algn="just" eaLnBrk="0" fontAlgn="auto" hangingPunct="0">
              <a:spcBef>
                <a:spcPts val="0"/>
              </a:spcBef>
              <a:spcAft>
                <a:spcPts val="600"/>
              </a:spcAft>
              <a:buClr>
                <a:srgbClr val="FF6309"/>
              </a:buClr>
              <a:buFont typeface="Wingdings" panose="05000000000000000000" pitchFamily="2" charset="2"/>
              <a:buChar char="§"/>
            </a:pPr>
            <a:r>
              <a:rPr lang="pl-PL" sz="1400" b="1" kern="0" dirty="0" smtClean="0">
                <a:solidFill>
                  <a:srgbClr val="002060"/>
                </a:solidFill>
              </a:rPr>
              <a:t>Poziom podatności na kryzys gazowy </a:t>
            </a:r>
            <a:r>
              <a:rPr lang="pl-PL" sz="1400" kern="0" dirty="0" smtClean="0">
                <a:solidFill>
                  <a:srgbClr val="002060"/>
                </a:solidFill>
              </a:rPr>
              <a:t>pozostaje </a:t>
            </a:r>
            <a:r>
              <a:rPr lang="pl-PL" sz="1400" b="1" kern="0" dirty="0" smtClean="0">
                <a:solidFill>
                  <a:srgbClr val="002060"/>
                </a:solidFill>
              </a:rPr>
              <a:t>niezmienny</a:t>
            </a:r>
            <a:r>
              <a:rPr lang="pl-PL" sz="1400" kern="0" dirty="0" smtClean="0">
                <a:solidFill>
                  <a:srgbClr val="002060"/>
                </a:solidFill>
              </a:rPr>
              <a:t> niezależnie od którego z sąsiadów Polska sprowadzi gaz. </a:t>
            </a:r>
          </a:p>
        </p:txBody>
      </p:sp>
      <p:sp>
        <p:nvSpPr>
          <p:cNvPr id="8" name="pole tekstowe 7"/>
          <p:cNvSpPr txBox="1"/>
          <p:nvPr/>
        </p:nvSpPr>
        <p:spPr>
          <a:xfrm>
            <a:off x="323528" y="4770437"/>
            <a:ext cx="388696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 eaLnBrk="0" fontAlgn="auto" hangingPunct="0">
              <a:spcBef>
                <a:spcPts val="0"/>
              </a:spcBef>
              <a:spcAft>
                <a:spcPts val="600"/>
              </a:spcAft>
              <a:buClr>
                <a:srgbClr val="FF6309"/>
              </a:buClr>
              <a:buFont typeface="Wingdings" panose="05000000000000000000" pitchFamily="2" charset="2"/>
              <a:buChar char="§"/>
            </a:pPr>
            <a:r>
              <a:rPr lang="pl-PL" sz="1400" b="1" kern="0" dirty="0" smtClean="0">
                <a:solidFill>
                  <a:srgbClr val="002060"/>
                </a:solidFill>
              </a:rPr>
              <a:t>Europa Zachodnia </a:t>
            </a:r>
            <a:r>
              <a:rPr lang="pl-PL" sz="1400" kern="0" dirty="0" smtClean="0">
                <a:solidFill>
                  <a:srgbClr val="002060"/>
                </a:solidFill>
              </a:rPr>
              <a:t>zabezpieczona jest </a:t>
            </a:r>
            <a:br>
              <a:rPr lang="pl-PL" sz="1400" kern="0" dirty="0" smtClean="0">
                <a:solidFill>
                  <a:srgbClr val="002060"/>
                </a:solidFill>
              </a:rPr>
            </a:br>
            <a:r>
              <a:rPr lang="pl-PL" sz="1400" kern="0" dirty="0" smtClean="0">
                <a:solidFill>
                  <a:srgbClr val="002060"/>
                </a:solidFill>
              </a:rPr>
              <a:t>od kryzysu możliwością dostaw </a:t>
            </a:r>
            <a:r>
              <a:rPr lang="pl-PL" sz="1400" b="1" kern="0" dirty="0" smtClean="0">
                <a:solidFill>
                  <a:srgbClr val="002060"/>
                </a:solidFill>
              </a:rPr>
              <a:t>LNG</a:t>
            </a:r>
            <a:r>
              <a:rPr lang="pl-PL" sz="1400" kern="0" dirty="0" smtClean="0">
                <a:solidFill>
                  <a:srgbClr val="002060"/>
                </a:solidFill>
              </a:rPr>
              <a:t>. </a:t>
            </a:r>
          </a:p>
          <a:p>
            <a:pPr marL="285750" indent="-285750" algn="just" eaLnBrk="0" fontAlgn="auto" hangingPunct="0">
              <a:spcBef>
                <a:spcPts val="0"/>
              </a:spcBef>
              <a:spcAft>
                <a:spcPts val="600"/>
              </a:spcAft>
              <a:buClr>
                <a:srgbClr val="FF6309"/>
              </a:buClr>
              <a:buFont typeface="Wingdings" panose="05000000000000000000" pitchFamily="2" charset="2"/>
              <a:buChar char="§"/>
            </a:pPr>
            <a:r>
              <a:rPr lang="pl-PL" sz="1400" kern="0" dirty="0" smtClean="0">
                <a:solidFill>
                  <a:srgbClr val="002060"/>
                </a:solidFill>
              </a:rPr>
              <a:t>PGNiG dopiero rozpoczyna działalności </a:t>
            </a:r>
            <a:br>
              <a:rPr lang="pl-PL" sz="1400" kern="0" dirty="0" smtClean="0">
                <a:solidFill>
                  <a:srgbClr val="002060"/>
                </a:solidFill>
              </a:rPr>
            </a:br>
            <a:r>
              <a:rPr lang="pl-PL" sz="1400" kern="0" dirty="0" smtClean="0">
                <a:solidFill>
                  <a:srgbClr val="002060"/>
                </a:solidFill>
              </a:rPr>
              <a:t>w tym segmencie. </a:t>
            </a:r>
          </a:p>
          <a:p>
            <a:pPr marL="285750" indent="-285750" algn="just" eaLnBrk="0" fontAlgn="auto" hangingPunct="0">
              <a:spcBef>
                <a:spcPts val="0"/>
              </a:spcBef>
              <a:spcAft>
                <a:spcPts val="600"/>
              </a:spcAft>
              <a:buClr>
                <a:srgbClr val="FF6309"/>
              </a:buClr>
              <a:buFont typeface="Wingdings" panose="05000000000000000000" pitchFamily="2" charset="2"/>
              <a:buChar char="§"/>
            </a:pPr>
            <a:r>
              <a:rPr lang="pl-PL" sz="1400" kern="0" dirty="0" smtClean="0">
                <a:solidFill>
                  <a:srgbClr val="002060"/>
                </a:solidFill>
              </a:rPr>
              <a:t>Terminal w Świnoujściu samodzielnie </a:t>
            </a:r>
            <a:r>
              <a:rPr lang="pl-PL" sz="1400" b="1" kern="0" dirty="0" smtClean="0">
                <a:solidFill>
                  <a:srgbClr val="002060"/>
                </a:solidFill>
              </a:rPr>
              <a:t>nie zabezpieczy Polski przed kryzysem</a:t>
            </a:r>
            <a:r>
              <a:rPr lang="pl-PL" sz="1400" kern="0" dirty="0" smtClean="0">
                <a:solidFill>
                  <a:srgbClr val="002060"/>
                </a:solidFill>
              </a:rPr>
              <a:t>. </a:t>
            </a:r>
          </a:p>
        </p:txBody>
      </p:sp>
      <p:sp>
        <p:nvSpPr>
          <p:cNvPr id="10" name="Tytuł 1"/>
          <p:cNvSpPr txBox="1">
            <a:spLocks/>
          </p:cNvSpPr>
          <p:nvPr/>
        </p:nvSpPr>
        <p:spPr bwMode="auto">
          <a:xfrm>
            <a:off x="304801" y="152400"/>
            <a:ext cx="7219528" cy="941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pl-PL" sz="2400" kern="0" dirty="0" smtClean="0">
                <a:solidFill>
                  <a:srgbClr val="002060"/>
                </a:solidFill>
              </a:rPr>
              <a:t>Budowa konkurencyjnego rynku gazu</a:t>
            </a:r>
            <a:r>
              <a:rPr lang="pl-PL" kern="0" dirty="0" smtClean="0">
                <a:solidFill>
                  <a:srgbClr val="002060"/>
                </a:solidFill>
              </a:rPr>
              <a:t/>
            </a:r>
            <a:br>
              <a:rPr lang="pl-PL" kern="0" dirty="0" smtClean="0">
                <a:solidFill>
                  <a:srgbClr val="002060"/>
                </a:solidFill>
              </a:rPr>
            </a:br>
            <a:r>
              <a:rPr lang="pl-PL" sz="1400" b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ostawy gazu ziemnego do Polski</a:t>
            </a:r>
            <a:endParaRPr lang="pl-PL" sz="1400" kern="0" dirty="0"/>
          </a:p>
        </p:txBody>
      </p:sp>
    </p:spTree>
    <p:extLst>
      <p:ext uri="{BB962C8B-B14F-4D97-AF65-F5344CB8AC3E}">
        <p14:creationId xmlns:p14="http://schemas.microsoft.com/office/powerpoint/2010/main" val="2741662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numeru slajd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620CB6B-8C40-468C-B584-0B1D36EE85CC}" type="slidenum">
              <a:rPr lang="en-US" smtClean="0">
                <a:solidFill>
                  <a:srgbClr val="0A1D64"/>
                </a:solidFill>
              </a:rPr>
              <a:pPr/>
              <a:t>9</a:t>
            </a:fld>
            <a:endParaRPr lang="en-US" dirty="0">
              <a:solidFill>
                <a:srgbClr val="0A1D64"/>
              </a:solidFill>
            </a:endParaRPr>
          </a:p>
        </p:txBody>
      </p:sp>
      <p:sp>
        <p:nvSpPr>
          <p:cNvPr id="11" name="pole tekstowe 10"/>
          <p:cNvSpPr txBox="1"/>
          <p:nvPr/>
        </p:nvSpPr>
        <p:spPr>
          <a:xfrm>
            <a:off x="5940152" y="1484784"/>
            <a:ext cx="2954674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600"/>
              </a:spcAft>
              <a:buClr>
                <a:srgbClr val="FF6309"/>
              </a:buClr>
              <a:buFont typeface="Wingdings" panose="05000000000000000000" pitchFamily="2" charset="2"/>
              <a:buChar char="§"/>
            </a:pPr>
            <a:r>
              <a:rPr lang="pl-PL" sz="1400" dirty="0" smtClean="0">
                <a:solidFill>
                  <a:srgbClr val="002060"/>
                </a:solidFill>
              </a:rPr>
              <a:t>Polska potrzebuje </a:t>
            </a:r>
            <a:r>
              <a:rPr lang="pl-PL" sz="1400" b="1" dirty="0" smtClean="0">
                <a:solidFill>
                  <a:srgbClr val="002060"/>
                </a:solidFill>
              </a:rPr>
              <a:t>nowego korytarza niezależnych od Rosji dostaw gazu ziemnego.</a:t>
            </a:r>
          </a:p>
          <a:p>
            <a:pPr marL="285750" indent="-285750" algn="just">
              <a:spcAft>
                <a:spcPts val="600"/>
              </a:spcAft>
              <a:buClr>
                <a:srgbClr val="FF6309"/>
              </a:buClr>
              <a:buFont typeface="Wingdings" panose="05000000000000000000" pitchFamily="2" charset="2"/>
              <a:buChar char="§"/>
            </a:pPr>
            <a:r>
              <a:rPr lang="pl-PL" sz="1400" dirty="0" smtClean="0">
                <a:solidFill>
                  <a:srgbClr val="002060"/>
                </a:solidFill>
              </a:rPr>
              <a:t>Planowane połącznie </a:t>
            </a:r>
            <a:r>
              <a:rPr lang="pl-PL" sz="1400" dirty="0">
                <a:solidFill>
                  <a:srgbClr val="002060"/>
                </a:solidFill>
              </a:rPr>
              <a:t/>
            </a:r>
            <a:br>
              <a:rPr lang="pl-PL" sz="1400" dirty="0">
                <a:solidFill>
                  <a:srgbClr val="002060"/>
                </a:solidFill>
              </a:rPr>
            </a:br>
            <a:r>
              <a:rPr lang="pl-PL" sz="1400" dirty="0" smtClean="0">
                <a:solidFill>
                  <a:srgbClr val="002060"/>
                </a:solidFill>
              </a:rPr>
              <a:t>z Czechami, Litwą i Słowacją umożliwią </a:t>
            </a:r>
            <a:r>
              <a:rPr lang="pl-PL" sz="1400" b="1" dirty="0" smtClean="0">
                <a:solidFill>
                  <a:srgbClr val="002060"/>
                </a:solidFill>
              </a:rPr>
              <a:t>rosyjskim spółkom na niekontrolowane wejście na Polski rynek gazu. </a:t>
            </a:r>
          </a:p>
          <a:p>
            <a:pPr marL="285750" indent="-285750" algn="just">
              <a:spcAft>
                <a:spcPts val="600"/>
              </a:spcAft>
              <a:buClr>
                <a:srgbClr val="FF6309"/>
              </a:buClr>
              <a:buFont typeface="Wingdings" panose="05000000000000000000" pitchFamily="2" charset="2"/>
              <a:buChar char="§"/>
            </a:pPr>
            <a:r>
              <a:rPr lang="pl-PL" sz="1400" dirty="0" smtClean="0">
                <a:solidFill>
                  <a:srgbClr val="002060"/>
                </a:solidFill>
              </a:rPr>
              <a:t>Dostawy LNG oraz budowa korytarza dostaw gazu </a:t>
            </a:r>
            <a:br>
              <a:rPr lang="pl-PL" sz="1400" dirty="0" smtClean="0">
                <a:solidFill>
                  <a:srgbClr val="002060"/>
                </a:solidFill>
              </a:rPr>
            </a:br>
            <a:r>
              <a:rPr lang="pl-PL" sz="1400" dirty="0" smtClean="0">
                <a:solidFill>
                  <a:srgbClr val="002060"/>
                </a:solidFill>
              </a:rPr>
              <a:t>z Norwegii pozwolą </a:t>
            </a:r>
            <a:r>
              <a:rPr lang="pl-PL" sz="1400" b="1" dirty="0" smtClean="0">
                <a:solidFill>
                  <a:srgbClr val="002060"/>
                </a:solidFill>
              </a:rPr>
              <a:t>wykorzystać nowe połączenia transgraniczne do dywersyfikacji Polski i Państw Centralnej Europy od dostaw gazu z Rosji.</a:t>
            </a:r>
            <a:endParaRPr lang="pl-PL" sz="1400" dirty="0">
              <a:solidFill>
                <a:srgbClr val="002060"/>
              </a:solidFill>
            </a:endParaRPr>
          </a:p>
        </p:txBody>
      </p:sp>
      <p:grpSp>
        <p:nvGrpSpPr>
          <p:cNvPr id="12" name="Grupa 11"/>
          <p:cNvGrpSpPr/>
          <p:nvPr/>
        </p:nvGrpSpPr>
        <p:grpSpPr>
          <a:xfrm>
            <a:off x="-41984" y="1397220"/>
            <a:ext cx="8862456" cy="5217197"/>
            <a:chOff x="-62079" y="1397220"/>
            <a:chExt cx="8862456" cy="5217197"/>
          </a:xfrm>
        </p:grpSpPr>
        <p:grpSp>
          <p:nvGrpSpPr>
            <p:cNvPr id="13" name="Grupa 12"/>
            <p:cNvGrpSpPr/>
            <p:nvPr/>
          </p:nvGrpSpPr>
          <p:grpSpPr>
            <a:xfrm>
              <a:off x="-62079" y="1397220"/>
              <a:ext cx="8862456" cy="5217197"/>
              <a:chOff x="-62079" y="1397220"/>
              <a:chExt cx="8862456" cy="5217197"/>
            </a:xfrm>
          </p:grpSpPr>
          <p:grpSp>
            <p:nvGrpSpPr>
              <p:cNvPr id="15" name="Grupa 14"/>
              <p:cNvGrpSpPr/>
              <p:nvPr/>
            </p:nvGrpSpPr>
            <p:grpSpPr>
              <a:xfrm>
                <a:off x="-62079" y="1397220"/>
                <a:ext cx="5881796" cy="4922874"/>
                <a:chOff x="-62079" y="1397220"/>
                <a:chExt cx="5881796" cy="4922874"/>
              </a:xfrm>
            </p:grpSpPr>
            <p:pic>
              <p:nvPicPr>
                <p:cNvPr id="24" name="Picture 4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0715" y="1397220"/>
                  <a:ext cx="5679002" cy="4922874"/>
                </a:xfrm>
                <a:prstGeom prst="rect">
                  <a:avLst/>
                </a:prstGeom>
                <a:ln>
                  <a:noFill/>
                </a:ln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5" name="pole tekstowe 48"/>
                <p:cNvSpPr txBox="1">
                  <a:spLocks noChangeArrowheads="1"/>
                </p:cNvSpPr>
                <p:nvPr/>
              </p:nvSpPr>
              <p:spPr bwMode="auto">
                <a:xfrm>
                  <a:off x="1996626" y="2823432"/>
                  <a:ext cx="2758161" cy="46166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>
                    <a:defRPr/>
                  </a:pPr>
                  <a:r>
                    <a:rPr lang="pl-PL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PL- LT</a:t>
                  </a:r>
                  <a:r>
                    <a:rPr lang="pl-PL" sz="1200" b="1" dirty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/>
                  </a:r>
                  <a:br>
                    <a:rPr lang="pl-PL" sz="1200" b="1" dirty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</a:br>
                  <a:r>
                    <a:rPr lang="pl-PL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(Etap I - 2,3 </a:t>
                  </a:r>
                  <a:r>
                    <a:rPr lang="pl-PL" sz="1200" b="1" dirty="0" err="1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bcm</a:t>
                  </a:r>
                  <a:r>
                    <a:rPr lang="pl-PL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)</a:t>
                  </a:r>
                  <a:endParaRPr lang="pl-PL" sz="1200" b="1" dirty="0">
                    <a:solidFill>
                      <a:srgbClr val="C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6" name="pole tekstowe 46"/>
                <p:cNvSpPr txBox="1">
                  <a:spLocks noChangeArrowheads="1"/>
                </p:cNvSpPr>
                <p:nvPr/>
              </p:nvSpPr>
              <p:spPr bwMode="auto">
                <a:xfrm>
                  <a:off x="1508767" y="3629036"/>
                  <a:ext cx="1979205" cy="64633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l"/>
                  <a:r>
                    <a:rPr lang="pl-PL" sz="1200" b="1" dirty="0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Gazociąg Jamalski</a:t>
                  </a:r>
                </a:p>
                <a:p>
                  <a:pPr marL="171450" indent="-171450" algn="l">
                    <a:buFont typeface="Arial" panose="020B0604020202020204" pitchFamily="34" charset="0"/>
                    <a:buChar char="•"/>
                  </a:pPr>
                  <a:r>
                    <a:rPr lang="pl-PL" sz="1200" b="1" i="1" dirty="0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tranzyt: </a:t>
                  </a:r>
                  <a:r>
                    <a:rPr lang="pl-PL" sz="1200" b="1" dirty="0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32.3 </a:t>
                  </a:r>
                  <a:r>
                    <a:rPr lang="pl-PL" sz="1200" b="1" dirty="0" err="1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bcm</a:t>
                  </a:r>
                  <a:r>
                    <a:rPr lang="pl-PL" sz="1200" b="1" dirty="0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 </a:t>
                  </a:r>
                </a:p>
                <a:p>
                  <a:pPr marL="171450" indent="-171450" algn="l">
                    <a:buFont typeface="Arial" panose="020B0604020202020204" pitchFamily="34" charset="0"/>
                    <a:buChar char="•"/>
                  </a:pPr>
                  <a:r>
                    <a:rPr lang="pl-PL" sz="1200" b="1" dirty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r</a:t>
                  </a:r>
                  <a:r>
                    <a:rPr lang="pl-PL" sz="1200" b="1" dirty="0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ewers: 5.5 </a:t>
                  </a:r>
                  <a:r>
                    <a:rPr lang="pl-PL" sz="1200" b="1" dirty="0" err="1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bcm</a:t>
                  </a:r>
                  <a:endParaRPr lang="pl-PL" sz="1200" b="1" dirty="0">
                    <a:solidFill>
                      <a:srgbClr val="00206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7" name="pole tekstowe 48"/>
                <p:cNvSpPr txBox="1">
                  <a:spLocks noChangeArrowheads="1"/>
                </p:cNvSpPr>
                <p:nvPr/>
              </p:nvSpPr>
              <p:spPr bwMode="auto">
                <a:xfrm>
                  <a:off x="3220486" y="3369743"/>
                  <a:ext cx="1440887" cy="46166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ctr">
                    <a:defRPr/>
                  </a:pPr>
                  <a:r>
                    <a:rPr lang="pl-PL" sz="1200" b="1" dirty="0" err="1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Tietierowka</a:t>
                  </a:r>
                  <a:r>
                    <a:rPr lang="pl-PL" sz="1200" b="1" dirty="0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 </a:t>
                  </a:r>
                </a:p>
                <a:p>
                  <a:pPr algn="ctr">
                    <a:defRPr/>
                  </a:pPr>
                  <a:r>
                    <a:rPr lang="pl-PL" sz="1200" b="1" dirty="0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(0.2 </a:t>
                  </a:r>
                  <a:r>
                    <a:rPr lang="pl-PL" sz="1200" b="1" dirty="0" err="1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bcm</a:t>
                  </a:r>
                  <a:r>
                    <a:rPr lang="pl-PL" sz="1200" b="1" dirty="0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)</a:t>
                  </a:r>
                  <a:endParaRPr lang="en-US" sz="1200" b="1" dirty="0">
                    <a:solidFill>
                      <a:srgbClr val="00206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8" name="pole tekstowe 46"/>
                <p:cNvSpPr txBox="1">
                  <a:spLocks noChangeArrowheads="1"/>
                </p:cNvSpPr>
                <p:nvPr/>
              </p:nvSpPr>
              <p:spPr bwMode="auto">
                <a:xfrm>
                  <a:off x="2660132" y="4332480"/>
                  <a:ext cx="2305274" cy="27699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pl-PL" sz="1200" b="1" dirty="0" err="1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Wysokoje</a:t>
                  </a:r>
                  <a:r>
                    <a:rPr lang="pl-PL" sz="1200" b="1" dirty="0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 (5.5 </a:t>
                  </a:r>
                  <a:r>
                    <a:rPr lang="pl-PL" sz="1200" b="1" dirty="0" err="1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bcm</a:t>
                  </a:r>
                  <a:r>
                    <a:rPr lang="pl-PL" sz="1200" b="1" dirty="0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)</a:t>
                  </a:r>
                </a:p>
              </p:txBody>
            </p:sp>
            <p:sp>
              <p:nvSpPr>
                <p:cNvPr id="29" name="pole tekstowe 47"/>
                <p:cNvSpPr txBox="1">
                  <a:spLocks noChangeArrowheads="1"/>
                </p:cNvSpPr>
                <p:nvPr/>
              </p:nvSpPr>
              <p:spPr bwMode="auto">
                <a:xfrm>
                  <a:off x="2660132" y="4748800"/>
                  <a:ext cx="2456388" cy="27699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ctr">
                    <a:defRPr/>
                  </a:pPr>
                  <a:r>
                    <a:rPr lang="pl-PL" sz="1200" b="1" dirty="0" smtClean="0">
                      <a:solidFill>
                        <a:srgbClr val="765A00"/>
                      </a:solidFill>
                      <a:latin typeface="Arial" pitchFamily="34" charset="0"/>
                      <a:cs typeface="Arial" pitchFamily="34" charset="0"/>
                    </a:rPr>
                    <a:t>Hrubieszów (0.3 </a:t>
                  </a:r>
                  <a:r>
                    <a:rPr lang="pl-PL" sz="1200" b="1" dirty="0" err="1" smtClean="0">
                      <a:solidFill>
                        <a:srgbClr val="765A00"/>
                      </a:solidFill>
                      <a:latin typeface="Arial" pitchFamily="34" charset="0"/>
                      <a:cs typeface="Arial" pitchFamily="34" charset="0"/>
                    </a:rPr>
                    <a:t>bcm</a:t>
                  </a:r>
                  <a:r>
                    <a:rPr lang="pl-PL" sz="1200" b="1" dirty="0" smtClean="0">
                      <a:solidFill>
                        <a:srgbClr val="765A00"/>
                      </a:solidFill>
                      <a:latin typeface="Arial" pitchFamily="34" charset="0"/>
                      <a:cs typeface="Arial" pitchFamily="34" charset="0"/>
                    </a:rPr>
                    <a:t>)</a:t>
                  </a:r>
                  <a:endParaRPr lang="en-US" sz="1200" b="1" dirty="0">
                    <a:solidFill>
                      <a:srgbClr val="765A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0" name="pole tekstowe 47"/>
                <p:cNvSpPr txBox="1">
                  <a:spLocks noChangeArrowheads="1"/>
                </p:cNvSpPr>
                <p:nvPr/>
              </p:nvSpPr>
              <p:spPr bwMode="auto">
                <a:xfrm>
                  <a:off x="2812532" y="4929848"/>
                  <a:ext cx="2456388" cy="27699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ctr">
                    <a:defRPr/>
                  </a:pPr>
                  <a:r>
                    <a:rPr lang="pl-PL" sz="1200" b="1" dirty="0" err="1" smtClean="0">
                      <a:solidFill>
                        <a:srgbClr val="765A00"/>
                      </a:solidFill>
                      <a:latin typeface="Arial" pitchFamily="34" charset="0"/>
                      <a:cs typeface="Arial" pitchFamily="34" charset="0"/>
                    </a:rPr>
                    <a:t>Drozdowicze</a:t>
                  </a:r>
                  <a:r>
                    <a:rPr lang="pl-PL" sz="1200" b="1" dirty="0" smtClean="0">
                      <a:solidFill>
                        <a:srgbClr val="765A00"/>
                      </a:solidFill>
                      <a:latin typeface="Arial" pitchFamily="34" charset="0"/>
                      <a:cs typeface="Arial" pitchFamily="34" charset="0"/>
                    </a:rPr>
                    <a:t> (5,7 </a:t>
                  </a:r>
                  <a:r>
                    <a:rPr lang="pl-PL" sz="1200" b="1" dirty="0" err="1" smtClean="0">
                      <a:solidFill>
                        <a:srgbClr val="765A00"/>
                      </a:solidFill>
                      <a:latin typeface="Arial" pitchFamily="34" charset="0"/>
                      <a:cs typeface="Arial" pitchFamily="34" charset="0"/>
                    </a:rPr>
                    <a:t>bcm</a:t>
                  </a:r>
                  <a:r>
                    <a:rPr lang="pl-PL" sz="1200" b="1" dirty="0" smtClean="0">
                      <a:solidFill>
                        <a:srgbClr val="765A00"/>
                      </a:solidFill>
                      <a:latin typeface="Arial" pitchFamily="34" charset="0"/>
                      <a:cs typeface="Arial" pitchFamily="34" charset="0"/>
                    </a:rPr>
                    <a:t>)</a:t>
                  </a:r>
                  <a:endParaRPr lang="en-US" sz="1200" b="1" dirty="0">
                    <a:solidFill>
                      <a:srgbClr val="765A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1" name="pole tekstowe 35"/>
                <p:cNvSpPr txBox="1">
                  <a:spLocks noChangeArrowheads="1"/>
                </p:cNvSpPr>
                <p:nvPr/>
              </p:nvSpPr>
              <p:spPr bwMode="auto">
                <a:xfrm>
                  <a:off x="84056" y="2480741"/>
                  <a:ext cx="2295411" cy="46166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ctr">
                    <a:defRPr/>
                  </a:pPr>
                  <a:r>
                    <a:rPr lang="pl-PL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KORYTARZ NORWESKI</a:t>
                  </a:r>
                  <a:br>
                    <a:rPr lang="pl-PL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</a:br>
                  <a:r>
                    <a:rPr lang="pl-PL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(do 7 </a:t>
                  </a:r>
                  <a:r>
                    <a:rPr lang="pl-PL" sz="1200" b="1" dirty="0" err="1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bcm</a:t>
                  </a:r>
                  <a:r>
                    <a:rPr lang="pl-PL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)</a:t>
                  </a:r>
                </a:p>
              </p:txBody>
            </p:sp>
            <p:sp>
              <p:nvSpPr>
                <p:cNvPr id="32" name="pole tekstowe 48"/>
                <p:cNvSpPr txBox="1">
                  <a:spLocks noChangeArrowheads="1"/>
                </p:cNvSpPr>
                <p:nvPr/>
              </p:nvSpPr>
              <p:spPr bwMode="auto">
                <a:xfrm>
                  <a:off x="1841406" y="5598675"/>
                  <a:ext cx="2758161" cy="46166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>
                    <a:defRPr/>
                  </a:pPr>
                  <a:r>
                    <a:rPr lang="pl-PL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PL- SK</a:t>
                  </a:r>
                  <a:r>
                    <a:rPr lang="pl-PL" sz="1200" b="1" dirty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/>
                  </a:r>
                  <a:br>
                    <a:rPr lang="pl-PL" sz="1200" b="1" dirty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</a:br>
                  <a:r>
                    <a:rPr lang="pl-PL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(5 </a:t>
                  </a:r>
                  <a:r>
                    <a:rPr lang="pl-PL" sz="1200" b="1" dirty="0" err="1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bcm</a:t>
                  </a:r>
                  <a:r>
                    <a:rPr lang="pl-PL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)</a:t>
                  </a:r>
                  <a:endParaRPr lang="pl-PL" sz="1200" b="1" dirty="0">
                    <a:solidFill>
                      <a:srgbClr val="C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3" name="pole tekstowe 48"/>
                <p:cNvSpPr txBox="1">
                  <a:spLocks noChangeArrowheads="1"/>
                </p:cNvSpPr>
                <p:nvPr/>
              </p:nvSpPr>
              <p:spPr bwMode="auto">
                <a:xfrm>
                  <a:off x="1567921" y="5560920"/>
                  <a:ext cx="982194" cy="46166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>
                    <a:defRPr/>
                  </a:pPr>
                  <a:r>
                    <a:rPr lang="pl-PL" sz="1200" b="1" dirty="0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PL- CZ</a:t>
                  </a:r>
                  <a:r>
                    <a:rPr lang="pl-PL" sz="1200" b="1" dirty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/>
                  </a:r>
                  <a:br>
                    <a:rPr lang="pl-PL" sz="1200" b="1" dirty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</a:br>
                  <a:r>
                    <a:rPr lang="pl-PL" sz="1200" b="1" dirty="0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(0,5 </a:t>
                  </a:r>
                  <a:r>
                    <a:rPr lang="pl-PL" sz="1200" b="1" dirty="0" err="1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bcm</a:t>
                  </a:r>
                  <a:r>
                    <a:rPr lang="pl-PL" sz="1200" b="1" dirty="0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)</a:t>
                  </a:r>
                  <a:endParaRPr lang="pl-PL" sz="1200" b="1" dirty="0">
                    <a:solidFill>
                      <a:srgbClr val="00206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pic>
              <p:nvPicPr>
                <p:cNvPr id="34" name="Picture 104" descr="lngtnkr_01_01"/>
                <p:cNvPicPr>
                  <a:picLocks noChangeAspect="1" noChangeArrowheads="1"/>
                </p:cNvPicPr>
                <p:nvPr>
                  <p:custDataLst>
                    <p:tags r:id="rId1"/>
                  </p:custDataLst>
                </p:nvPr>
              </p:nvPicPr>
              <p:blipFill>
                <a:blip r:embed="rId4" cstate="print">
                  <a:clrChange>
                    <a:clrFrom>
                      <a:srgbClr val="FEFEFE"/>
                    </a:clrFrom>
                    <a:clrTo>
                      <a:srgbClr val="FEFEFE">
                        <a:alpha val="0"/>
                      </a:srgbClr>
                    </a:clrTo>
                  </a:clrChange>
                  <a:duotone>
                    <a:prstClr val="black"/>
                    <a:schemeClr val="accent1">
                      <a:tint val="45000"/>
                      <a:satMod val="400000"/>
                    </a:schemeClr>
                  </a:duotone>
                </a:blip>
                <a:srcRect/>
                <a:stretch>
                  <a:fillRect/>
                </a:stretch>
              </p:blipFill>
              <p:spPr bwMode="auto">
                <a:xfrm>
                  <a:off x="999389" y="3600576"/>
                  <a:ext cx="495708" cy="497891"/>
                </a:xfrm>
                <a:prstGeom prst="rect">
                  <a:avLst/>
                </a:prstGeom>
                <a:ln>
                  <a:noFill/>
                </a:ln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p:spPr>
            </p:pic>
            <p:sp>
              <p:nvSpPr>
                <p:cNvPr id="35" name="pole tekstowe 35"/>
                <p:cNvSpPr txBox="1">
                  <a:spLocks noChangeArrowheads="1"/>
                </p:cNvSpPr>
                <p:nvPr/>
              </p:nvSpPr>
              <p:spPr bwMode="auto">
                <a:xfrm>
                  <a:off x="-62079" y="3097714"/>
                  <a:ext cx="1463405" cy="64633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>
                    <a:defRPr/>
                  </a:pPr>
                  <a:r>
                    <a:rPr lang="en-US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TERMINAL</a:t>
                  </a:r>
                  <a:r>
                    <a:rPr lang="pl-PL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 </a:t>
                  </a:r>
                  <a:r>
                    <a:rPr lang="en-US" sz="1200" b="1" dirty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LNG </a:t>
                  </a:r>
                  <a:endParaRPr lang="pl-PL" sz="1200" b="1" dirty="0" smtClean="0">
                    <a:solidFill>
                      <a:srgbClr val="C00000"/>
                    </a:solidFill>
                    <a:latin typeface="Arial" pitchFamily="34" charset="0"/>
                    <a:cs typeface="Arial" pitchFamily="34" charset="0"/>
                  </a:endParaRPr>
                </a:p>
                <a:p>
                  <a:pPr algn="ctr">
                    <a:defRPr/>
                  </a:pPr>
                  <a:r>
                    <a:rPr lang="pl-PL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(Etap I - 5 </a:t>
                  </a:r>
                  <a:r>
                    <a:rPr lang="pl-PL" sz="1200" b="1" dirty="0" err="1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bcm</a:t>
                  </a:r>
                  <a:r>
                    <a:rPr lang="pl-PL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,</a:t>
                  </a:r>
                  <a:br>
                    <a:rPr lang="pl-PL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</a:br>
                  <a:r>
                    <a:rPr lang="pl-PL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Etap II – 7.5 </a:t>
                  </a:r>
                  <a:r>
                    <a:rPr lang="pl-PL" sz="1200" b="1" dirty="0" err="1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bcm</a:t>
                  </a:r>
                  <a:r>
                    <a:rPr lang="pl-PL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)</a:t>
                  </a:r>
                  <a:endParaRPr lang="en-US" sz="1200" b="1" dirty="0">
                    <a:solidFill>
                      <a:srgbClr val="C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6" name="Strzałka w lewo i prawo 35"/>
                <p:cNvSpPr/>
                <p:nvPr/>
              </p:nvSpPr>
              <p:spPr bwMode="auto">
                <a:xfrm rot="19570285">
                  <a:off x="2923470" y="3389413"/>
                  <a:ext cx="594032" cy="187994"/>
                </a:xfrm>
                <a:prstGeom prst="leftRightArrow">
                  <a:avLst/>
                </a:prstGeom>
                <a:solidFill>
                  <a:schemeClr val="accent5">
                    <a:lumMod val="2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pl-PL" sz="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37" name="Strzałka w lewo i prawo 36"/>
                <p:cNvSpPr/>
                <p:nvPr/>
              </p:nvSpPr>
              <p:spPr bwMode="auto">
                <a:xfrm rot="14060468">
                  <a:off x="2683200" y="5304713"/>
                  <a:ext cx="594032" cy="187994"/>
                </a:xfrm>
                <a:prstGeom prst="leftRightArrow">
                  <a:avLst/>
                </a:prstGeom>
                <a:solidFill>
                  <a:schemeClr val="accent5">
                    <a:lumMod val="2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pl-PL" sz="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38" name="Strzałka w lewo i prawo 37"/>
                <p:cNvSpPr/>
                <p:nvPr/>
              </p:nvSpPr>
              <p:spPr bwMode="auto">
                <a:xfrm rot="19020004">
                  <a:off x="1480672" y="4950810"/>
                  <a:ext cx="594032" cy="187994"/>
                </a:xfrm>
                <a:prstGeom prst="leftRightArrow">
                  <a:avLst/>
                </a:prstGeom>
                <a:solidFill>
                  <a:schemeClr val="accent5">
                    <a:lumMod val="2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pl-PL" sz="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39" name="Strzałka w lewo i prawo 38"/>
                <p:cNvSpPr/>
                <p:nvPr/>
              </p:nvSpPr>
              <p:spPr bwMode="auto">
                <a:xfrm rot="17783672">
                  <a:off x="1920023" y="5203111"/>
                  <a:ext cx="594032" cy="187994"/>
                </a:xfrm>
                <a:prstGeom prst="leftRightArrow">
                  <a:avLst/>
                </a:prstGeom>
                <a:gradFill flip="none" rotWithShape="1">
                  <a:gsLst>
                    <a:gs pos="0">
                      <a:srgbClr val="002060"/>
                    </a:gs>
                    <a:gs pos="100000">
                      <a:srgbClr val="FFC000"/>
                    </a:gs>
                  </a:gsLst>
                  <a:lin ang="0" scaled="1"/>
                  <a:tileRect/>
                </a:gra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pl-PL" sz="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40" name="Strzałka w lewo i prawo 39"/>
                <p:cNvSpPr/>
                <p:nvPr/>
              </p:nvSpPr>
              <p:spPr bwMode="auto">
                <a:xfrm rot="20056286">
                  <a:off x="1153060" y="4704289"/>
                  <a:ext cx="594032" cy="187994"/>
                </a:xfrm>
                <a:prstGeom prst="leftRightArrow">
                  <a:avLst/>
                </a:prstGeom>
                <a:solidFill>
                  <a:srgbClr val="002060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pl-PL" sz="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41" name="Strzałka w prawo 40"/>
                <p:cNvSpPr/>
                <p:nvPr/>
              </p:nvSpPr>
              <p:spPr bwMode="auto">
                <a:xfrm rot="3663739">
                  <a:off x="1263812" y="3144916"/>
                  <a:ext cx="666640" cy="265515"/>
                </a:xfrm>
                <a:prstGeom prst="rightArrow">
                  <a:avLst/>
                </a:prstGeom>
                <a:solidFill>
                  <a:schemeClr val="accent5">
                    <a:lumMod val="2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pl-PL" sz="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42" name="pole tekstowe 48"/>
                <p:cNvSpPr txBox="1">
                  <a:spLocks noChangeArrowheads="1"/>
                </p:cNvSpPr>
                <p:nvPr/>
              </p:nvSpPr>
              <p:spPr bwMode="auto">
                <a:xfrm rot="20020932">
                  <a:off x="400779" y="4850768"/>
                  <a:ext cx="2116327" cy="27699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ctr">
                    <a:defRPr/>
                  </a:pPr>
                  <a:r>
                    <a:rPr lang="pl-PL" sz="1200" b="1" dirty="0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Lasów (1.5 </a:t>
                  </a:r>
                  <a:r>
                    <a:rPr lang="pl-PL" sz="1200" b="1" dirty="0" err="1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bcm</a:t>
                  </a:r>
                  <a:r>
                    <a:rPr lang="pl-PL" sz="1200" b="1" dirty="0" smtClean="0">
                      <a:solidFill>
                        <a:srgbClr val="002060"/>
                      </a:solidFill>
                      <a:latin typeface="Arial" pitchFamily="34" charset="0"/>
                      <a:cs typeface="Arial" pitchFamily="34" charset="0"/>
                    </a:rPr>
                    <a:t>)</a:t>
                  </a:r>
                  <a:endParaRPr lang="en-US" sz="1200" b="1" dirty="0">
                    <a:solidFill>
                      <a:srgbClr val="00206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3" name="pole tekstowe 48"/>
                <p:cNvSpPr txBox="1">
                  <a:spLocks noChangeArrowheads="1"/>
                </p:cNvSpPr>
                <p:nvPr/>
              </p:nvSpPr>
              <p:spPr bwMode="auto">
                <a:xfrm>
                  <a:off x="1049389" y="5167877"/>
                  <a:ext cx="982194" cy="46166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>
                    <a:defRPr/>
                  </a:pPr>
                  <a:r>
                    <a:rPr lang="pl-PL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PL- CZ</a:t>
                  </a:r>
                  <a:r>
                    <a:rPr lang="pl-PL" sz="1200" b="1" dirty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/>
                  </a:r>
                  <a:br>
                    <a:rPr lang="pl-PL" sz="1200" b="1" dirty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</a:br>
                  <a:r>
                    <a:rPr lang="pl-PL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(6,5 </a:t>
                  </a:r>
                  <a:r>
                    <a:rPr lang="pl-PL" sz="1200" b="1" dirty="0" err="1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bcm</a:t>
                  </a:r>
                  <a:r>
                    <a:rPr lang="pl-PL" sz="1200" b="1" dirty="0" smtClean="0">
                      <a:solidFill>
                        <a:srgbClr val="C00000"/>
                      </a:solidFill>
                      <a:latin typeface="Arial" pitchFamily="34" charset="0"/>
                      <a:cs typeface="Arial" pitchFamily="34" charset="0"/>
                    </a:rPr>
                    <a:t>)</a:t>
                  </a:r>
                  <a:endParaRPr lang="pl-PL" sz="1200" b="1" dirty="0">
                    <a:solidFill>
                      <a:srgbClr val="C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16" name="Strzałka w prawo 15"/>
              <p:cNvSpPr/>
              <p:nvPr/>
            </p:nvSpPr>
            <p:spPr bwMode="auto">
              <a:xfrm>
                <a:off x="6081821" y="5600724"/>
                <a:ext cx="666640" cy="265515"/>
              </a:xfrm>
              <a:prstGeom prst="rightArrow">
                <a:avLst/>
              </a:prstGeom>
              <a:solidFill>
                <a:schemeClr val="accent5">
                  <a:lumMod val="2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dist="107763" dir="2700000" algn="ctr" rotWithShape="0">
                  <a:srgbClr val="808080"/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pl-PL" sz="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7" name="Strzałka w prawo 16"/>
              <p:cNvSpPr/>
              <p:nvPr/>
            </p:nvSpPr>
            <p:spPr bwMode="auto">
              <a:xfrm>
                <a:off x="6081821" y="5960118"/>
                <a:ext cx="666640" cy="265515"/>
              </a:xfrm>
              <a:prstGeom prst="rightArrow">
                <a:avLst/>
              </a:prstGeom>
              <a:solidFill>
                <a:srgbClr val="002060"/>
              </a:solidFill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dist="107763" dir="2700000" algn="ctr" rotWithShape="0">
                  <a:srgbClr val="808080"/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pl-PL" sz="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8" name="pole tekstowe 48"/>
              <p:cNvSpPr txBox="1">
                <a:spLocks noChangeArrowheads="1"/>
              </p:cNvSpPr>
              <p:nvPr/>
            </p:nvSpPr>
            <p:spPr bwMode="auto">
              <a:xfrm>
                <a:off x="6830993" y="5589240"/>
                <a:ext cx="1969384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>
                  <a:defRPr/>
                </a:pPr>
                <a:r>
                  <a:rPr lang="pl-PL" sz="1200" b="1" dirty="0" smtClean="0">
                    <a:solidFill>
                      <a:srgbClr val="C00000"/>
                    </a:solidFill>
                    <a:latin typeface="Arial" pitchFamily="34" charset="0"/>
                    <a:cs typeface="Arial" pitchFamily="34" charset="0"/>
                  </a:rPr>
                  <a:t>Planowane połączenia</a:t>
                </a:r>
                <a:endParaRPr lang="pl-PL" sz="1200" b="1" dirty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9" name="pole tekstowe 48"/>
              <p:cNvSpPr txBox="1">
                <a:spLocks noChangeArrowheads="1"/>
              </p:cNvSpPr>
              <p:nvPr/>
            </p:nvSpPr>
            <p:spPr bwMode="auto">
              <a:xfrm>
                <a:off x="6618161" y="5983256"/>
                <a:ext cx="2116327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pl-PL" sz="1200" b="1" dirty="0" smtClean="0">
                    <a:solidFill>
                      <a:srgbClr val="002060"/>
                    </a:solidFill>
                    <a:latin typeface="Arial" pitchFamily="34" charset="0"/>
                    <a:cs typeface="Arial" pitchFamily="34" charset="0"/>
                  </a:rPr>
                  <a:t>Istniejące połączenia</a:t>
                </a:r>
                <a:endParaRPr lang="en-US" sz="1200" b="1" dirty="0">
                  <a:solidFill>
                    <a:srgbClr val="00206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0" name="Strzałka w prawo 19"/>
              <p:cNvSpPr/>
              <p:nvPr/>
            </p:nvSpPr>
            <p:spPr bwMode="auto">
              <a:xfrm>
                <a:off x="6081821" y="6348902"/>
                <a:ext cx="666640" cy="265515"/>
              </a:xfrm>
              <a:prstGeom prst="rightArrow">
                <a:avLst/>
              </a:prstGeom>
              <a:solidFill>
                <a:srgbClr val="D8BF02"/>
              </a:solidFill>
              <a:ln w="9525" cap="flat" cmpd="sng" algn="ctr">
                <a:solidFill>
                  <a:srgbClr val="D8BF02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dist="107763" dir="2700000" algn="ctr" rotWithShape="0">
                  <a:srgbClr val="808080"/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pl-PL" sz="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1" name="Strzałka w prawo 20"/>
              <p:cNvSpPr/>
              <p:nvPr/>
            </p:nvSpPr>
            <p:spPr bwMode="auto">
              <a:xfrm rot="9140972">
                <a:off x="3114939" y="3794903"/>
                <a:ext cx="521533" cy="177063"/>
              </a:xfrm>
              <a:prstGeom prst="rightArrow">
                <a:avLst/>
              </a:prstGeom>
              <a:solidFill>
                <a:srgbClr val="002060"/>
              </a:solidFill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dist="107763" dir="2700000" algn="ctr" rotWithShape="0">
                  <a:srgbClr val="808080"/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pl-PL" sz="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2" name="Strzałka w prawo 21"/>
              <p:cNvSpPr/>
              <p:nvPr/>
            </p:nvSpPr>
            <p:spPr bwMode="auto">
              <a:xfrm rot="10800000">
                <a:off x="3366793" y="4571737"/>
                <a:ext cx="521533" cy="177063"/>
              </a:xfrm>
              <a:prstGeom prst="rightArrow">
                <a:avLst/>
              </a:prstGeom>
              <a:solidFill>
                <a:srgbClr val="002060"/>
              </a:solidFill>
              <a:ln w="9525" cap="flat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dist="107763" dir="2700000" algn="ctr" rotWithShape="0">
                  <a:srgbClr val="808080"/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pl-PL" sz="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3" name="pole tekstowe 48"/>
              <p:cNvSpPr txBox="1">
                <a:spLocks noChangeArrowheads="1"/>
              </p:cNvSpPr>
              <p:nvPr/>
            </p:nvSpPr>
            <p:spPr bwMode="auto">
              <a:xfrm>
                <a:off x="6637210" y="6336007"/>
                <a:ext cx="2116327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pl-PL" sz="1200" b="1" dirty="0" smtClean="0">
                    <a:solidFill>
                      <a:srgbClr val="FFC000"/>
                    </a:solidFill>
                    <a:latin typeface="Arial" pitchFamily="34" charset="0"/>
                    <a:cs typeface="Arial" pitchFamily="34" charset="0"/>
                  </a:rPr>
                  <a:t>Istniejące połączenia</a:t>
                </a:r>
                <a:endParaRPr lang="en-US" sz="1200" b="1" dirty="0">
                  <a:solidFill>
                    <a:srgbClr val="FFC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4" name="Strzałka w lewo i prawo 13"/>
            <p:cNvSpPr/>
            <p:nvPr/>
          </p:nvSpPr>
          <p:spPr bwMode="auto">
            <a:xfrm rot="5209336">
              <a:off x="-163319" y="4574861"/>
              <a:ext cx="1665881" cy="446851"/>
            </a:xfrm>
            <a:prstGeom prst="leftRightArrow">
              <a:avLst>
                <a:gd name="adj1" fmla="val 37903"/>
                <a:gd name="adj2" fmla="val 70925"/>
              </a:avLst>
            </a:prstGeom>
            <a:gradFill flip="none" rotWithShape="1">
              <a:gsLst>
                <a:gs pos="0">
                  <a:srgbClr val="FFC000"/>
                </a:gs>
                <a:gs pos="100000">
                  <a:srgbClr val="002060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pl-PL" b="1" dirty="0" smtClean="0">
                  <a:solidFill>
                    <a:schemeClr val="tx1"/>
                  </a:solidFill>
                  <a:latin typeface="Arial" charset="0"/>
                </a:rPr>
                <a:t>OPAL</a:t>
              </a:r>
              <a:endParaRPr kumimoji="0" lang="pl-PL" sz="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4" name="Tytuł 1"/>
          <p:cNvSpPr txBox="1">
            <a:spLocks/>
          </p:cNvSpPr>
          <p:nvPr/>
        </p:nvSpPr>
        <p:spPr bwMode="auto">
          <a:xfrm>
            <a:off x="304801" y="152400"/>
            <a:ext cx="7219528" cy="941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pl-PL" sz="2400" kern="0" dirty="0">
                <a:solidFill>
                  <a:srgbClr val="002060"/>
                </a:solidFill>
              </a:rPr>
              <a:t>Budowa konkurencyjnego rynku gazu</a:t>
            </a:r>
            <a:r>
              <a:rPr lang="pl-PL" kern="0" dirty="0" smtClean="0">
                <a:solidFill>
                  <a:srgbClr val="002060"/>
                </a:solidFill>
              </a:rPr>
              <a:t/>
            </a:r>
            <a:br>
              <a:rPr lang="pl-PL" kern="0" dirty="0" smtClean="0">
                <a:solidFill>
                  <a:srgbClr val="002060"/>
                </a:solidFill>
              </a:rPr>
            </a:br>
            <a:r>
              <a:rPr lang="pl-PL" sz="1400" b="0" dirty="0">
                <a:solidFill>
                  <a:srgbClr val="002060"/>
                </a:solidFill>
              </a:rPr>
              <a:t>Planowane i istniejące </a:t>
            </a:r>
            <a:r>
              <a:rPr lang="pl-PL" sz="1400" b="0" dirty="0" smtClean="0">
                <a:solidFill>
                  <a:srgbClr val="002060"/>
                </a:solidFill>
              </a:rPr>
              <a:t>połączenia</a:t>
            </a:r>
            <a:endParaRPr lang="pl-PL" sz="1400" kern="0" dirty="0"/>
          </a:p>
        </p:txBody>
      </p:sp>
    </p:spTree>
    <p:extLst>
      <p:ext uri="{BB962C8B-B14F-4D97-AF65-F5344CB8AC3E}">
        <p14:creationId xmlns:p14="http://schemas.microsoft.com/office/powerpoint/2010/main" val="1732645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IPKg6Rpkmh.yWLfghS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T2B1sElE2zdvPl2o4tnQ"/>
</p:tagLst>
</file>

<file path=ppt/theme/theme1.xml><?xml version="1.0" encoding="utf-8"?>
<a:theme xmlns:a="http://schemas.openxmlformats.org/drawingml/2006/main" name="PGNiG Prezentacja nowa - szara">
  <a:themeElements>
    <a:clrScheme name="Prezentacja granatowa 14">
      <a:dk1>
        <a:srgbClr val="969696"/>
      </a:dk1>
      <a:lt1>
        <a:srgbClr val="FFFFFF"/>
      </a:lt1>
      <a:dk2>
        <a:srgbClr val="0A1D64"/>
      </a:dk2>
      <a:lt2>
        <a:srgbClr val="FFFFFF"/>
      </a:lt2>
      <a:accent1>
        <a:srgbClr val="FF6309"/>
      </a:accent1>
      <a:accent2>
        <a:srgbClr val="CDCFD0"/>
      </a:accent2>
      <a:accent3>
        <a:srgbClr val="AAABB8"/>
      </a:accent3>
      <a:accent4>
        <a:srgbClr val="DADADA"/>
      </a:accent4>
      <a:accent5>
        <a:srgbClr val="FFB7AA"/>
      </a:accent5>
      <a:accent6>
        <a:srgbClr val="BABBBC"/>
      </a:accent6>
      <a:hlink>
        <a:srgbClr val="FF6309"/>
      </a:hlink>
      <a:folHlink>
        <a:srgbClr val="0768A9"/>
      </a:folHlink>
    </a:clrScheme>
    <a:fontScheme name="Prezentacja granatow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ezentacja granatow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3">
        <a:dk1>
          <a:srgbClr val="0A1D64"/>
        </a:dk1>
        <a:lt1>
          <a:srgbClr val="FFFFFF"/>
        </a:lt1>
        <a:dk2>
          <a:srgbClr val="0A1D64"/>
        </a:dk2>
        <a:lt2>
          <a:srgbClr val="969696"/>
        </a:lt2>
        <a:accent1>
          <a:srgbClr val="FF6309"/>
        </a:accent1>
        <a:accent2>
          <a:srgbClr val="CDCFD0"/>
        </a:accent2>
        <a:accent3>
          <a:srgbClr val="FFFFFF"/>
        </a:accent3>
        <a:accent4>
          <a:srgbClr val="071754"/>
        </a:accent4>
        <a:accent5>
          <a:srgbClr val="FFB7AA"/>
        </a:accent5>
        <a:accent6>
          <a:srgbClr val="BABBBC"/>
        </a:accent6>
        <a:hlink>
          <a:srgbClr val="0768A9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14">
        <a:dk1>
          <a:srgbClr val="969696"/>
        </a:dk1>
        <a:lt1>
          <a:srgbClr val="FFFFFF"/>
        </a:lt1>
        <a:dk2>
          <a:srgbClr val="0A1D64"/>
        </a:dk2>
        <a:lt2>
          <a:srgbClr val="FFFFFF"/>
        </a:lt2>
        <a:accent1>
          <a:srgbClr val="FF6309"/>
        </a:accent1>
        <a:accent2>
          <a:srgbClr val="CDCFD0"/>
        </a:accent2>
        <a:accent3>
          <a:srgbClr val="AAABB8"/>
        </a:accent3>
        <a:accent4>
          <a:srgbClr val="DADADA"/>
        </a:accent4>
        <a:accent5>
          <a:srgbClr val="FFB7AA"/>
        </a:accent5>
        <a:accent6>
          <a:srgbClr val="BABBBC"/>
        </a:accent6>
        <a:hlink>
          <a:srgbClr val="FF6309"/>
        </a:hlink>
        <a:folHlink>
          <a:srgbClr val="0768A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GNiG Prezentacja nowa - szara.pptx" id="{8D2A774A-68FC-4001-9791-5430C1A41276}" vid="{CC8D8F2B-64D2-4C90-BE1E-D0E36D686C60}"/>
    </a:ext>
  </a:extLst>
</a:theme>
</file>

<file path=ppt/theme/theme10.xml><?xml version="1.0" encoding="utf-8"?>
<a:theme xmlns:a="http://schemas.openxmlformats.org/drawingml/2006/main" name="Onscreen template">
  <a:themeElements>
    <a:clrScheme name="">
      <a:dk1>
        <a:srgbClr val="000000"/>
      </a:dk1>
      <a:lt1>
        <a:srgbClr val="FFFFFF"/>
      </a:lt1>
      <a:dk2>
        <a:srgbClr val="3264FF"/>
      </a:dk2>
      <a:lt2>
        <a:srgbClr val="FC7049"/>
      </a:lt2>
      <a:accent1>
        <a:srgbClr val="FF0000"/>
      </a:accent1>
      <a:accent2>
        <a:srgbClr val="999999"/>
      </a:accent2>
      <a:accent3>
        <a:srgbClr val="FFFFFF"/>
      </a:accent3>
      <a:accent4>
        <a:srgbClr val="000000"/>
      </a:accent4>
      <a:accent5>
        <a:srgbClr val="FFAAAA"/>
      </a:accent5>
      <a:accent6>
        <a:srgbClr val="8A8A8A"/>
      </a:accent6>
      <a:hlink>
        <a:srgbClr val="333333"/>
      </a:hlink>
      <a:folHlink>
        <a:srgbClr val="FDD0B9"/>
      </a:folHlink>
    </a:clrScheme>
    <a:fontScheme name="Onscreen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outerShdw dist="107763" dir="2700000" algn="ctr" rotWithShape="0">
            <a:srgbClr val="808080"/>
          </a:outerShdw>
        </a:effec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outerShdw dist="107763" dir="2700000" algn="ctr" rotWithShape="0">
            <a:srgbClr val="808080"/>
          </a:outerShdw>
        </a:effec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nscreen template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screen template 2">
        <a:dk1>
          <a:srgbClr val="000000"/>
        </a:dk1>
        <a:lt1>
          <a:srgbClr val="FFFFFF"/>
        </a:lt1>
        <a:dk2>
          <a:srgbClr val="FF1300"/>
        </a:dk2>
        <a:lt2>
          <a:srgbClr val="82003C"/>
        </a:lt2>
        <a:accent1>
          <a:srgbClr val="404040"/>
        </a:accent1>
        <a:accent2>
          <a:srgbClr val="A6A6A6"/>
        </a:accent2>
        <a:accent3>
          <a:srgbClr val="FFFFFF"/>
        </a:accent3>
        <a:accent4>
          <a:srgbClr val="000000"/>
        </a:accent4>
        <a:accent5>
          <a:srgbClr val="AFAFAF"/>
        </a:accent5>
        <a:accent6>
          <a:srgbClr val="969696"/>
        </a:accent6>
        <a:hlink>
          <a:srgbClr val="FDD0B9"/>
        </a:hlink>
        <a:folHlink>
          <a:srgbClr val="FC704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Motyw pakietu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Motyw pakietu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nscreen template">
  <a:themeElements>
    <a:clrScheme name="">
      <a:dk1>
        <a:srgbClr val="000000"/>
      </a:dk1>
      <a:lt1>
        <a:srgbClr val="FFFFFF"/>
      </a:lt1>
      <a:dk2>
        <a:srgbClr val="3264FF"/>
      </a:dk2>
      <a:lt2>
        <a:srgbClr val="FC7049"/>
      </a:lt2>
      <a:accent1>
        <a:srgbClr val="FF0000"/>
      </a:accent1>
      <a:accent2>
        <a:srgbClr val="999999"/>
      </a:accent2>
      <a:accent3>
        <a:srgbClr val="FFFFFF"/>
      </a:accent3>
      <a:accent4>
        <a:srgbClr val="000000"/>
      </a:accent4>
      <a:accent5>
        <a:srgbClr val="FFAAAA"/>
      </a:accent5>
      <a:accent6>
        <a:srgbClr val="8A8A8A"/>
      </a:accent6>
      <a:hlink>
        <a:srgbClr val="333333"/>
      </a:hlink>
      <a:folHlink>
        <a:srgbClr val="FDD0B9"/>
      </a:folHlink>
    </a:clrScheme>
    <a:fontScheme name="Onscreen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pl-PL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Onscreen template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screen template 2">
        <a:dk1>
          <a:srgbClr val="000000"/>
        </a:dk1>
        <a:lt1>
          <a:srgbClr val="FFFFFF"/>
        </a:lt1>
        <a:dk2>
          <a:srgbClr val="FF1300"/>
        </a:dk2>
        <a:lt2>
          <a:srgbClr val="82003C"/>
        </a:lt2>
        <a:accent1>
          <a:srgbClr val="404040"/>
        </a:accent1>
        <a:accent2>
          <a:srgbClr val="A6A6A6"/>
        </a:accent2>
        <a:accent3>
          <a:srgbClr val="FFFFFF"/>
        </a:accent3>
        <a:accent4>
          <a:srgbClr val="000000"/>
        </a:accent4>
        <a:accent5>
          <a:srgbClr val="AFAFAF"/>
        </a:accent5>
        <a:accent6>
          <a:srgbClr val="969696"/>
        </a:accent6>
        <a:hlink>
          <a:srgbClr val="FDD0B9"/>
        </a:hlink>
        <a:folHlink>
          <a:srgbClr val="FC704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Onscreen template">
  <a:themeElements>
    <a:clrScheme name="">
      <a:dk1>
        <a:srgbClr val="000000"/>
      </a:dk1>
      <a:lt1>
        <a:srgbClr val="FFFFFF"/>
      </a:lt1>
      <a:dk2>
        <a:srgbClr val="3264FF"/>
      </a:dk2>
      <a:lt2>
        <a:srgbClr val="FC7049"/>
      </a:lt2>
      <a:accent1>
        <a:srgbClr val="FF0000"/>
      </a:accent1>
      <a:accent2>
        <a:srgbClr val="999999"/>
      </a:accent2>
      <a:accent3>
        <a:srgbClr val="FFFFFF"/>
      </a:accent3>
      <a:accent4>
        <a:srgbClr val="000000"/>
      </a:accent4>
      <a:accent5>
        <a:srgbClr val="FFAAAA"/>
      </a:accent5>
      <a:accent6>
        <a:srgbClr val="8A8A8A"/>
      </a:accent6>
      <a:hlink>
        <a:srgbClr val="333333"/>
      </a:hlink>
      <a:folHlink>
        <a:srgbClr val="FDD0B9"/>
      </a:folHlink>
    </a:clrScheme>
    <a:fontScheme name="Onscreen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pl-PL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Onscreen template 1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screen template 2">
        <a:dk1>
          <a:srgbClr val="000000"/>
        </a:dk1>
        <a:lt1>
          <a:srgbClr val="FFFFFF"/>
        </a:lt1>
        <a:dk2>
          <a:srgbClr val="FF1300"/>
        </a:dk2>
        <a:lt2>
          <a:srgbClr val="82003C"/>
        </a:lt2>
        <a:accent1>
          <a:srgbClr val="404040"/>
        </a:accent1>
        <a:accent2>
          <a:srgbClr val="A6A6A6"/>
        </a:accent2>
        <a:accent3>
          <a:srgbClr val="FFFFFF"/>
        </a:accent3>
        <a:accent4>
          <a:srgbClr val="000000"/>
        </a:accent4>
        <a:accent5>
          <a:srgbClr val="AFAFAF"/>
        </a:accent5>
        <a:accent6>
          <a:srgbClr val="969696"/>
        </a:accent6>
        <a:hlink>
          <a:srgbClr val="FDD0B9"/>
        </a:hlink>
        <a:folHlink>
          <a:srgbClr val="FC704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Prezentacja szara">
  <a:themeElements>
    <a:clrScheme name="Prezentacja granatowa 14">
      <a:dk1>
        <a:srgbClr val="969696"/>
      </a:dk1>
      <a:lt1>
        <a:srgbClr val="FFFFFF"/>
      </a:lt1>
      <a:dk2>
        <a:srgbClr val="0A1D64"/>
      </a:dk2>
      <a:lt2>
        <a:srgbClr val="FFFFFF"/>
      </a:lt2>
      <a:accent1>
        <a:srgbClr val="FF6309"/>
      </a:accent1>
      <a:accent2>
        <a:srgbClr val="CDCFD0"/>
      </a:accent2>
      <a:accent3>
        <a:srgbClr val="AAABB8"/>
      </a:accent3>
      <a:accent4>
        <a:srgbClr val="DADADA"/>
      </a:accent4>
      <a:accent5>
        <a:srgbClr val="FFB7AA"/>
      </a:accent5>
      <a:accent6>
        <a:srgbClr val="BABBBC"/>
      </a:accent6>
      <a:hlink>
        <a:srgbClr val="FF6309"/>
      </a:hlink>
      <a:folHlink>
        <a:srgbClr val="0768A9"/>
      </a:folHlink>
    </a:clrScheme>
    <a:fontScheme name="Prezentacja granatow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ezentacja granatow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3">
        <a:dk1>
          <a:srgbClr val="0A1D64"/>
        </a:dk1>
        <a:lt1>
          <a:srgbClr val="FFFFFF"/>
        </a:lt1>
        <a:dk2>
          <a:srgbClr val="0A1D64"/>
        </a:dk2>
        <a:lt2>
          <a:srgbClr val="969696"/>
        </a:lt2>
        <a:accent1>
          <a:srgbClr val="FF6309"/>
        </a:accent1>
        <a:accent2>
          <a:srgbClr val="CDCFD0"/>
        </a:accent2>
        <a:accent3>
          <a:srgbClr val="FFFFFF"/>
        </a:accent3>
        <a:accent4>
          <a:srgbClr val="071754"/>
        </a:accent4>
        <a:accent5>
          <a:srgbClr val="FFB7AA"/>
        </a:accent5>
        <a:accent6>
          <a:srgbClr val="BABBBC"/>
        </a:accent6>
        <a:hlink>
          <a:srgbClr val="0768A9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14">
        <a:dk1>
          <a:srgbClr val="969696"/>
        </a:dk1>
        <a:lt1>
          <a:srgbClr val="FFFFFF"/>
        </a:lt1>
        <a:dk2>
          <a:srgbClr val="0A1D64"/>
        </a:dk2>
        <a:lt2>
          <a:srgbClr val="FFFFFF"/>
        </a:lt2>
        <a:accent1>
          <a:srgbClr val="FF6309"/>
        </a:accent1>
        <a:accent2>
          <a:srgbClr val="CDCFD0"/>
        </a:accent2>
        <a:accent3>
          <a:srgbClr val="AAABB8"/>
        </a:accent3>
        <a:accent4>
          <a:srgbClr val="DADADA"/>
        </a:accent4>
        <a:accent5>
          <a:srgbClr val="FFB7AA"/>
        </a:accent5>
        <a:accent6>
          <a:srgbClr val="BABBBC"/>
        </a:accent6>
        <a:hlink>
          <a:srgbClr val="FF6309"/>
        </a:hlink>
        <a:folHlink>
          <a:srgbClr val="0768A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GNiG Prezentacja nowa.potx" id="{44246A7B-ECB2-418D-8A8F-B861919F04AB}" vid="{BAD6AE5E-54DC-41AA-B5E9-81107DCA4B50}"/>
    </a:ext>
  </a:extLst>
</a:theme>
</file>

<file path=ppt/theme/theme5.xml><?xml version="1.0" encoding="utf-8"?>
<a:theme xmlns:a="http://schemas.openxmlformats.org/drawingml/2006/main" name="PGNiG Prezentacja nowa - szara_10lat_EN_d">
  <a:themeElements>
    <a:clrScheme name="Prezentacja granatowa 14">
      <a:dk1>
        <a:srgbClr val="969696"/>
      </a:dk1>
      <a:lt1>
        <a:srgbClr val="FFFFFF"/>
      </a:lt1>
      <a:dk2>
        <a:srgbClr val="0A1D64"/>
      </a:dk2>
      <a:lt2>
        <a:srgbClr val="FFFFFF"/>
      </a:lt2>
      <a:accent1>
        <a:srgbClr val="FF6309"/>
      </a:accent1>
      <a:accent2>
        <a:srgbClr val="CDCFD0"/>
      </a:accent2>
      <a:accent3>
        <a:srgbClr val="AAABB8"/>
      </a:accent3>
      <a:accent4>
        <a:srgbClr val="DADADA"/>
      </a:accent4>
      <a:accent5>
        <a:srgbClr val="FFB7AA"/>
      </a:accent5>
      <a:accent6>
        <a:srgbClr val="BABBBC"/>
      </a:accent6>
      <a:hlink>
        <a:srgbClr val="FF6309"/>
      </a:hlink>
      <a:folHlink>
        <a:srgbClr val="0768A9"/>
      </a:folHlink>
    </a:clrScheme>
    <a:fontScheme name="Prezentacja granatow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ezentacja granatow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3">
        <a:dk1>
          <a:srgbClr val="0A1D64"/>
        </a:dk1>
        <a:lt1>
          <a:srgbClr val="FFFFFF"/>
        </a:lt1>
        <a:dk2>
          <a:srgbClr val="0A1D64"/>
        </a:dk2>
        <a:lt2>
          <a:srgbClr val="969696"/>
        </a:lt2>
        <a:accent1>
          <a:srgbClr val="FF6309"/>
        </a:accent1>
        <a:accent2>
          <a:srgbClr val="CDCFD0"/>
        </a:accent2>
        <a:accent3>
          <a:srgbClr val="FFFFFF"/>
        </a:accent3>
        <a:accent4>
          <a:srgbClr val="071754"/>
        </a:accent4>
        <a:accent5>
          <a:srgbClr val="FFB7AA"/>
        </a:accent5>
        <a:accent6>
          <a:srgbClr val="BABBBC"/>
        </a:accent6>
        <a:hlink>
          <a:srgbClr val="0768A9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14">
        <a:dk1>
          <a:srgbClr val="969696"/>
        </a:dk1>
        <a:lt1>
          <a:srgbClr val="FFFFFF"/>
        </a:lt1>
        <a:dk2>
          <a:srgbClr val="0A1D64"/>
        </a:dk2>
        <a:lt2>
          <a:srgbClr val="FFFFFF"/>
        </a:lt2>
        <a:accent1>
          <a:srgbClr val="FF6309"/>
        </a:accent1>
        <a:accent2>
          <a:srgbClr val="CDCFD0"/>
        </a:accent2>
        <a:accent3>
          <a:srgbClr val="AAABB8"/>
        </a:accent3>
        <a:accent4>
          <a:srgbClr val="DADADA"/>
        </a:accent4>
        <a:accent5>
          <a:srgbClr val="FFB7AA"/>
        </a:accent5>
        <a:accent6>
          <a:srgbClr val="BABBBC"/>
        </a:accent6>
        <a:hlink>
          <a:srgbClr val="FF6309"/>
        </a:hlink>
        <a:folHlink>
          <a:srgbClr val="0768A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GNiG Prezentacja nowa - szara.pptx" id="{8D2A774A-68FC-4001-9791-5430C1A41276}" vid="{CC8D8F2B-64D2-4C90-BE1E-D0E36D686C60}"/>
    </a:ext>
  </a:extLst>
</a:theme>
</file>

<file path=ppt/theme/theme6.xml><?xml version="1.0" encoding="utf-8"?>
<a:theme xmlns:a="http://schemas.openxmlformats.org/drawingml/2006/main" name="1_PGNiG Prezentacja nowa - szara">
  <a:themeElements>
    <a:clrScheme name="Niestandardowy 1">
      <a:dk1>
        <a:srgbClr val="969696"/>
      </a:dk1>
      <a:lt1>
        <a:srgbClr val="FFFFFF"/>
      </a:lt1>
      <a:dk2>
        <a:srgbClr val="0A1D64"/>
      </a:dk2>
      <a:lt2>
        <a:srgbClr val="FFFFFF"/>
      </a:lt2>
      <a:accent1>
        <a:srgbClr val="FF6309"/>
      </a:accent1>
      <a:accent2>
        <a:srgbClr val="CDCFD0"/>
      </a:accent2>
      <a:accent3>
        <a:srgbClr val="AAABB8"/>
      </a:accent3>
      <a:accent4>
        <a:srgbClr val="DADADA"/>
      </a:accent4>
      <a:accent5>
        <a:srgbClr val="FFB7AA"/>
      </a:accent5>
      <a:accent6>
        <a:srgbClr val="BABBBC"/>
      </a:accent6>
      <a:hlink>
        <a:srgbClr val="0A1D64"/>
      </a:hlink>
      <a:folHlink>
        <a:srgbClr val="0768A9"/>
      </a:folHlink>
    </a:clrScheme>
    <a:fontScheme name="Prezentacja granatow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ezentacja granatow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3">
        <a:dk1>
          <a:srgbClr val="0A1D64"/>
        </a:dk1>
        <a:lt1>
          <a:srgbClr val="FFFFFF"/>
        </a:lt1>
        <a:dk2>
          <a:srgbClr val="0A1D64"/>
        </a:dk2>
        <a:lt2>
          <a:srgbClr val="969696"/>
        </a:lt2>
        <a:accent1>
          <a:srgbClr val="FF6309"/>
        </a:accent1>
        <a:accent2>
          <a:srgbClr val="CDCFD0"/>
        </a:accent2>
        <a:accent3>
          <a:srgbClr val="FFFFFF"/>
        </a:accent3>
        <a:accent4>
          <a:srgbClr val="071754"/>
        </a:accent4>
        <a:accent5>
          <a:srgbClr val="FFB7AA"/>
        </a:accent5>
        <a:accent6>
          <a:srgbClr val="BABBBC"/>
        </a:accent6>
        <a:hlink>
          <a:srgbClr val="0768A9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14">
        <a:dk1>
          <a:srgbClr val="969696"/>
        </a:dk1>
        <a:lt1>
          <a:srgbClr val="FFFFFF"/>
        </a:lt1>
        <a:dk2>
          <a:srgbClr val="0A1D64"/>
        </a:dk2>
        <a:lt2>
          <a:srgbClr val="FFFFFF"/>
        </a:lt2>
        <a:accent1>
          <a:srgbClr val="FF6309"/>
        </a:accent1>
        <a:accent2>
          <a:srgbClr val="CDCFD0"/>
        </a:accent2>
        <a:accent3>
          <a:srgbClr val="AAABB8"/>
        </a:accent3>
        <a:accent4>
          <a:srgbClr val="DADADA"/>
        </a:accent4>
        <a:accent5>
          <a:srgbClr val="FFB7AA"/>
        </a:accent5>
        <a:accent6>
          <a:srgbClr val="BABBBC"/>
        </a:accent6>
        <a:hlink>
          <a:srgbClr val="FF6309"/>
        </a:hlink>
        <a:folHlink>
          <a:srgbClr val="0768A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GNiG Prezentacja nowa - szara.pptx" id="{8D2A774A-68FC-4001-9791-5430C1A41276}" vid="{CC8D8F2B-64D2-4C90-BE1E-D0E36D686C60}"/>
    </a:ext>
  </a:extLst>
</a:theme>
</file>

<file path=ppt/theme/theme7.xml><?xml version="1.0" encoding="utf-8"?>
<a:theme xmlns:a="http://schemas.openxmlformats.org/drawingml/2006/main" name="2_PGNiG Prezentacja nowa - szara">
  <a:themeElements>
    <a:clrScheme name="Niestandardowy 1">
      <a:dk1>
        <a:srgbClr val="969696"/>
      </a:dk1>
      <a:lt1>
        <a:srgbClr val="FFFFFF"/>
      </a:lt1>
      <a:dk2>
        <a:srgbClr val="0A1D64"/>
      </a:dk2>
      <a:lt2>
        <a:srgbClr val="FFFFFF"/>
      </a:lt2>
      <a:accent1>
        <a:srgbClr val="FF6309"/>
      </a:accent1>
      <a:accent2>
        <a:srgbClr val="CDCFD0"/>
      </a:accent2>
      <a:accent3>
        <a:srgbClr val="AAABB8"/>
      </a:accent3>
      <a:accent4>
        <a:srgbClr val="DADADA"/>
      </a:accent4>
      <a:accent5>
        <a:srgbClr val="FFB7AA"/>
      </a:accent5>
      <a:accent6>
        <a:srgbClr val="BABBBC"/>
      </a:accent6>
      <a:hlink>
        <a:srgbClr val="0A1D64"/>
      </a:hlink>
      <a:folHlink>
        <a:srgbClr val="0768A9"/>
      </a:folHlink>
    </a:clrScheme>
    <a:fontScheme name="Prezentacja granatow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ezentacja granatow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3">
        <a:dk1>
          <a:srgbClr val="0A1D64"/>
        </a:dk1>
        <a:lt1>
          <a:srgbClr val="FFFFFF"/>
        </a:lt1>
        <a:dk2>
          <a:srgbClr val="0A1D64"/>
        </a:dk2>
        <a:lt2>
          <a:srgbClr val="969696"/>
        </a:lt2>
        <a:accent1>
          <a:srgbClr val="FF6309"/>
        </a:accent1>
        <a:accent2>
          <a:srgbClr val="CDCFD0"/>
        </a:accent2>
        <a:accent3>
          <a:srgbClr val="FFFFFF"/>
        </a:accent3>
        <a:accent4>
          <a:srgbClr val="071754"/>
        </a:accent4>
        <a:accent5>
          <a:srgbClr val="FFB7AA"/>
        </a:accent5>
        <a:accent6>
          <a:srgbClr val="BABBBC"/>
        </a:accent6>
        <a:hlink>
          <a:srgbClr val="0768A9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14">
        <a:dk1>
          <a:srgbClr val="969696"/>
        </a:dk1>
        <a:lt1>
          <a:srgbClr val="FFFFFF"/>
        </a:lt1>
        <a:dk2>
          <a:srgbClr val="0A1D64"/>
        </a:dk2>
        <a:lt2>
          <a:srgbClr val="FFFFFF"/>
        </a:lt2>
        <a:accent1>
          <a:srgbClr val="FF6309"/>
        </a:accent1>
        <a:accent2>
          <a:srgbClr val="CDCFD0"/>
        </a:accent2>
        <a:accent3>
          <a:srgbClr val="AAABB8"/>
        </a:accent3>
        <a:accent4>
          <a:srgbClr val="DADADA"/>
        </a:accent4>
        <a:accent5>
          <a:srgbClr val="FFB7AA"/>
        </a:accent5>
        <a:accent6>
          <a:srgbClr val="BABBBC"/>
        </a:accent6>
        <a:hlink>
          <a:srgbClr val="FF6309"/>
        </a:hlink>
        <a:folHlink>
          <a:srgbClr val="0768A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GNiG Prezentacja nowa - szara.pptx" id="{8D2A774A-68FC-4001-9791-5430C1A41276}" vid="{CC8D8F2B-64D2-4C90-BE1E-D0E36D686C60}"/>
    </a:ext>
  </a:extLst>
</a:theme>
</file>

<file path=ppt/theme/theme8.xml><?xml version="1.0" encoding="utf-8"?>
<a:theme xmlns:a="http://schemas.openxmlformats.org/drawingml/2006/main" name="3_PGNiG Prezentacja nowa - szara">
  <a:themeElements>
    <a:clrScheme name="Niestandardowy 1">
      <a:dk1>
        <a:srgbClr val="969696"/>
      </a:dk1>
      <a:lt1>
        <a:srgbClr val="FFFFFF"/>
      </a:lt1>
      <a:dk2>
        <a:srgbClr val="0A1D64"/>
      </a:dk2>
      <a:lt2>
        <a:srgbClr val="FFFFFF"/>
      </a:lt2>
      <a:accent1>
        <a:srgbClr val="FF6309"/>
      </a:accent1>
      <a:accent2>
        <a:srgbClr val="CDCFD0"/>
      </a:accent2>
      <a:accent3>
        <a:srgbClr val="AAABB8"/>
      </a:accent3>
      <a:accent4>
        <a:srgbClr val="DADADA"/>
      </a:accent4>
      <a:accent5>
        <a:srgbClr val="FFB7AA"/>
      </a:accent5>
      <a:accent6>
        <a:srgbClr val="BABBBC"/>
      </a:accent6>
      <a:hlink>
        <a:srgbClr val="0A1D64"/>
      </a:hlink>
      <a:folHlink>
        <a:srgbClr val="0768A9"/>
      </a:folHlink>
    </a:clrScheme>
    <a:fontScheme name="Prezentacja granatow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ezentacja granatow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3">
        <a:dk1>
          <a:srgbClr val="0A1D64"/>
        </a:dk1>
        <a:lt1>
          <a:srgbClr val="FFFFFF"/>
        </a:lt1>
        <a:dk2>
          <a:srgbClr val="0A1D64"/>
        </a:dk2>
        <a:lt2>
          <a:srgbClr val="969696"/>
        </a:lt2>
        <a:accent1>
          <a:srgbClr val="FF6309"/>
        </a:accent1>
        <a:accent2>
          <a:srgbClr val="CDCFD0"/>
        </a:accent2>
        <a:accent3>
          <a:srgbClr val="FFFFFF"/>
        </a:accent3>
        <a:accent4>
          <a:srgbClr val="071754"/>
        </a:accent4>
        <a:accent5>
          <a:srgbClr val="FFB7AA"/>
        </a:accent5>
        <a:accent6>
          <a:srgbClr val="BABBBC"/>
        </a:accent6>
        <a:hlink>
          <a:srgbClr val="0768A9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14">
        <a:dk1>
          <a:srgbClr val="969696"/>
        </a:dk1>
        <a:lt1>
          <a:srgbClr val="FFFFFF"/>
        </a:lt1>
        <a:dk2>
          <a:srgbClr val="0A1D64"/>
        </a:dk2>
        <a:lt2>
          <a:srgbClr val="FFFFFF"/>
        </a:lt2>
        <a:accent1>
          <a:srgbClr val="FF6309"/>
        </a:accent1>
        <a:accent2>
          <a:srgbClr val="CDCFD0"/>
        </a:accent2>
        <a:accent3>
          <a:srgbClr val="AAABB8"/>
        </a:accent3>
        <a:accent4>
          <a:srgbClr val="DADADA"/>
        </a:accent4>
        <a:accent5>
          <a:srgbClr val="FFB7AA"/>
        </a:accent5>
        <a:accent6>
          <a:srgbClr val="BABBBC"/>
        </a:accent6>
        <a:hlink>
          <a:srgbClr val="FF6309"/>
        </a:hlink>
        <a:folHlink>
          <a:srgbClr val="0768A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GNiG Prezentacja nowa - szara.pptx" id="{8D2A774A-68FC-4001-9791-5430C1A41276}" vid="{CC8D8F2B-64D2-4C90-BE1E-D0E36D686C60}"/>
    </a:ext>
  </a:extLst>
</a:theme>
</file>

<file path=ppt/theme/theme9.xml><?xml version="1.0" encoding="utf-8"?>
<a:theme xmlns:a="http://schemas.openxmlformats.org/drawingml/2006/main" name="4_PGNiG Prezentacja nowa - szara">
  <a:themeElements>
    <a:clrScheme name="Niestandardowy 1">
      <a:dk1>
        <a:srgbClr val="969696"/>
      </a:dk1>
      <a:lt1>
        <a:srgbClr val="FFFFFF"/>
      </a:lt1>
      <a:dk2>
        <a:srgbClr val="0A1D64"/>
      </a:dk2>
      <a:lt2>
        <a:srgbClr val="FFFFFF"/>
      </a:lt2>
      <a:accent1>
        <a:srgbClr val="FF6309"/>
      </a:accent1>
      <a:accent2>
        <a:srgbClr val="CDCFD0"/>
      </a:accent2>
      <a:accent3>
        <a:srgbClr val="AAABB8"/>
      </a:accent3>
      <a:accent4>
        <a:srgbClr val="DADADA"/>
      </a:accent4>
      <a:accent5>
        <a:srgbClr val="FFB7AA"/>
      </a:accent5>
      <a:accent6>
        <a:srgbClr val="BABBBC"/>
      </a:accent6>
      <a:hlink>
        <a:srgbClr val="0A1D64"/>
      </a:hlink>
      <a:folHlink>
        <a:srgbClr val="0768A9"/>
      </a:folHlink>
    </a:clrScheme>
    <a:fontScheme name="Prezentacja granatow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ezentacja granatow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 granatowa 13">
        <a:dk1>
          <a:srgbClr val="0A1D64"/>
        </a:dk1>
        <a:lt1>
          <a:srgbClr val="FFFFFF"/>
        </a:lt1>
        <a:dk2>
          <a:srgbClr val="0A1D64"/>
        </a:dk2>
        <a:lt2>
          <a:srgbClr val="969696"/>
        </a:lt2>
        <a:accent1>
          <a:srgbClr val="FF6309"/>
        </a:accent1>
        <a:accent2>
          <a:srgbClr val="CDCFD0"/>
        </a:accent2>
        <a:accent3>
          <a:srgbClr val="FFFFFF"/>
        </a:accent3>
        <a:accent4>
          <a:srgbClr val="071754"/>
        </a:accent4>
        <a:accent5>
          <a:srgbClr val="FFB7AA"/>
        </a:accent5>
        <a:accent6>
          <a:srgbClr val="BABBBC"/>
        </a:accent6>
        <a:hlink>
          <a:srgbClr val="0768A9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 granatowa 14">
        <a:dk1>
          <a:srgbClr val="969696"/>
        </a:dk1>
        <a:lt1>
          <a:srgbClr val="FFFFFF"/>
        </a:lt1>
        <a:dk2>
          <a:srgbClr val="0A1D64"/>
        </a:dk2>
        <a:lt2>
          <a:srgbClr val="FFFFFF"/>
        </a:lt2>
        <a:accent1>
          <a:srgbClr val="FF6309"/>
        </a:accent1>
        <a:accent2>
          <a:srgbClr val="CDCFD0"/>
        </a:accent2>
        <a:accent3>
          <a:srgbClr val="AAABB8"/>
        </a:accent3>
        <a:accent4>
          <a:srgbClr val="DADADA"/>
        </a:accent4>
        <a:accent5>
          <a:srgbClr val="FFB7AA"/>
        </a:accent5>
        <a:accent6>
          <a:srgbClr val="BABBBC"/>
        </a:accent6>
        <a:hlink>
          <a:srgbClr val="FF6309"/>
        </a:hlink>
        <a:folHlink>
          <a:srgbClr val="0768A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GNiG Prezentacja nowa - szara.pptx" id="{8D2A774A-68FC-4001-9791-5430C1A41276}" vid="{CC8D8F2B-64D2-4C90-BE1E-D0E36D686C60}"/>
    </a:ext>
  </a:extLst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3264FF"/>
    </a:dk2>
    <a:lt2>
      <a:srgbClr val="FC7049"/>
    </a:lt2>
    <a:accent1>
      <a:srgbClr val="FF0000"/>
    </a:accent1>
    <a:accent2>
      <a:srgbClr val="999999"/>
    </a:accent2>
    <a:accent3>
      <a:srgbClr val="FFFFFF"/>
    </a:accent3>
    <a:accent4>
      <a:srgbClr val="000000"/>
    </a:accent4>
    <a:accent5>
      <a:srgbClr val="FFAAAA"/>
    </a:accent5>
    <a:accent6>
      <a:srgbClr val="8A8A8A"/>
    </a:accent6>
    <a:hlink>
      <a:srgbClr val="333333"/>
    </a:hlink>
    <a:folHlink>
      <a:srgbClr val="FDD0B9"/>
    </a:folHlink>
  </a:clrScheme>
  <a:fontScheme name="Onscreen templat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Pakiet 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3264FF"/>
    </a:dk2>
    <a:lt2>
      <a:srgbClr val="FC7049"/>
    </a:lt2>
    <a:accent1>
      <a:srgbClr val="FF0000"/>
    </a:accent1>
    <a:accent2>
      <a:srgbClr val="999999"/>
    </a:accent2>
    <a:accent3>
      <a:srgbClr val="FFFFFF"/>
    </a:accent3>
    <a:accent4>
      <a:srgbClr val="000000"/>
    </a:accent4>
    <a:accent5>
      <a:srgbClr val="FFAAAA"/>
    </a:accent5>
    <a:accent6>
      <a:srgbClr val="8A8A8A"/>
    </a:accent6>
    <a:hlink>
      <a:srgbClr val="333333"/>
    </a:hlink>
    <a:folHlink>
      <a:srgbClr val="FDD0B9"/>
    </a:folHlink>
  </a:clrScheme>
  <a:fontScheme name="Onscreen templat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Pakiet 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3264FF"/>
    </a:dk2>
    <a:lt2>
      <a:srgbClr val="FC7049"/>
    </a:lt2>
    <a:accent1>
      <a:srgbClr val="FF0000"/>
    </a:accent1>
    <a:accent2>
      <a:srgbClr val="999999"/>
    </a:accent2>
    <a:accent3>
      <a:srgbClr val="FFFFFF"/>
    </a:accent3>
    <a:accent4>
      <a:srgbClr val="000000"/>
    </a:accent4>
    <a:accent5>
      <a:srgbClr val="FFAAAA"/>
    </a:accent5>
    <a:accent6>
      <a:srgbClr val="8A8A8A"/>
    </a:accent6>
    <a:hlink>
      <a:srgbClr val="333333"/>
    </a:hlink>
    <a:folHlink>
      <a:srgbClr val="FDD0B9"/>
    </a:folHlink>
  </a:clrScheme>
  <a:fontScheme name="Onscreen templat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Pakiet 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3264FF"/>
    </a:dk2>
    <a:lt2>
      <a:srgbClr val="FC7049"/>
    </a:lt2>
    <a:accent1>
      <a:srgbClr val="FF0000"/>
    </a:accent1>
    <a:accent2>
      <a:srgbClr val="999999"/>
    </a:accent2>
    <a:accent3>
      <a:srgbClr val="FFFFFF"/>
    </a:accent3>
    <a:accent4>
      <a:srgbClr val="000000"/>
    </a:accent4>
    <a:accent5>
      <a:srgbClr val="FFAAAA"/>
    </a:accent5>
    <a:accent6>
      <a:srgbClr val="8A8A8A"/>
    </a:accent6>
    <a:hlink>
      <a:srgbClr val="333333"/>
    </a:hlink>
    <a:folHlink>
      <a:srgbClr val="FDD0B9"/>
    </a:folHlink>
  </a:clrScheme>
  <a:fontScheme name="Onscreen templat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Pakiet 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08833433C0ADC4B96403FBF978DDF00" ma:contentTypeVersion="0" ma:contentTypeDescription="Utwórz nowy dokument." ma:contentTypeScope="" ma:versionID="55bdccb778551481c0ee288389feea8b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7205475a2bd5decc137c3e66d34da2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2468838-C20B-422E-8DDF-07A018070049}">
  <ds:schemaRefs>
    <ds:schemaRef ds:uri="http://purl.org/dc/terms/"/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9248743-06BD-4A6B-8988-FECF536BF8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05072A9-CD96-41A9-A96E-4D1F2320940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GNiG Prezentacja nowa - szara</Template>
  <TotalTime>3677</TotalTime>
  <Words>880</Words>
  <Application>Microsoft Office PowerPoint</Application>
  <PresentationFormat>Pokaz na ekranie (4:3)</PresentationFormat>
  <Paragraphs>192</Paragraphs>
  <Slides>15</Slides>
  <Notes>0</Notes>
  <HiddenSlides>0</HiddenSlides>
  <MMClips>0</MMClips>
  <ScaleCrop>false</ScaleCrop>
  <HeadingPairs>
    <vt:vector size="6" baseType="variant">
      <vt:variant>
        <vt:lpstr>Motyw</vt:lpstr>
      </vt:variant>
      <vt:variant>
        <vt:i4>10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5</vt:i4>
      </vt:variant>
    </vt:vector>
  </HeadingPairs>
  <TitlesOfParts>
    <vt:vector size="26" baseType="lpstr">
      <vt:lpstr>PGNiG Prezentacja nowa - szara</vt:lpstr>
      <vt:lpstr>1_Onscreen template</vt:lpstr>
      <vt:lpstr>2_Onscreen template</vt:lpstr>
      <vt:lpstr>1_Prezentacja szara</vt:lpstr>
      <vt:lpstr>PGNiG Prezentacja nowa - szara_10lat_EN_d</vt:lpstr>
      <vt:lpstr>1_PGNiG Prezentacja nowa - szara</vt:lpstr>
      <vt:lpstr>2_PGNiG Prezentacja nowa - szara</vt:lpstr>
      <vt:lpstr>3_PGNiG Prezentacja nowa - szara</vt:lpstr>
      <vt:lpstr>4_PGNiG Prezentacja nowa - szara</vt:lpstr>
      <vt:lpstr>Onscreen template</vt:lpstr>
      <vt:lpstr>CorelPhotoPaint.Image.11</vt:lpstr>
      <vt:lpstr>Strategia rozwoju PGNiG SA  na rzecz bezpieczeństwa energetycznego Polski</vt:lpstr>
      <vt:lpstr> Agenda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Budowa konkurencyjnego rynku gazu  Niezależne od Rosji dostawy gazu możliwe są przez Terminal w Świnoujściu lub z Norwegii</vt:lpstr>
      <vt:lpstr>Prezentacja programu PowerPoint</vt:lpstr>
      <vt:lpstr>Budowa konkurencyjnego rynku gazu Rynek LNG</vt:lpstr>
      <vt:lpstr>Budowa konkurencyjnego rynku gazu Rynek LNG</vt:lpstr>
      <vt:lpstr>Budowa konkurencyjnego rynku gazu Rynek LNG</vt:lpstr>
      <vt:lpstr>Prezentacja programu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Szlagowski Piotr</dc:creator>
  <cp:lastModifiedBy>Piotr Szlagowski</cp:lastModifiedBy>
  <cp:revision>359</cp:revision>
  <cp:lastPrinted>2015-01-26T16:12:32Z</cp:lastPrinted>
  <dcterms:created xsi:type="dcterms:W3CDTF">2014-11-27T11:56:21Z</dcterms:created>
  <dcterms:modified xsi:type="dcterms:W3CDTF">2016-04-28T11:31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8833433C0ADC4B96403FBF978DDF00</vt:lpwstr>
  </property>
</Properties>
</file>